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2" r:id="rId2"/>
  </p:sldMasterIdLst>
  <p:notesMasterIdLst>
    <p:notesMasterId r:id="rId27"/>
  </p:notesMasterIdLst>
  <p:sldIdLst>
    <p:sldId id="995" r:id="rId3"/>
    <p:sldId id="944" r:id="rId4"/>
    <p:sldId id="926" r:id="rId5"/>
    <p:sldId id="937" r:id="rId6"/>
    <p:sldId id="938" r:id="rId7"/>
    <p:sldId id="939" r:id="rId8"/>
    <p:sldId id="940" r:id="rId9"/>
    <p:sldId id="941" r:id="rId10"/>
    <p:sldId id="907" r:id="rId11"/>
    <p:sldId id="913" r:id="rId12"/>
    <p:sldId id="916" r:id="rId13"/>
    <p:sldId id="912" r:id="rId14"/>
    <p:sldId id="910" r:id="rId15"/>
    <p:sldId id="923" r:id="rId16"/>
    <p:sldId id="924" r:id="rId17"/>
    <p:sldId id="899" r:id="rId18"/>
    <p:sldId id="909" r:id="rId19"/>
    <p:sldId id="922" r:id="rId20"/>
    <p:sldId id="271" r:id="rId21"/>
    <p:sldId id="911" r:id="rId22"/>
    <p:sldId id="901" r:id="rId23"/>
    <p:sldId id="925" r:id="rId24"/>
    <p:sldId id="919" r:id="rId25"/>
    <p:sldId id="996" r:id="rId2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CC"/>
    <a:srgbClr val="FEBBB4"/>
    <a:srgbClr val="0099FF"/>
    <a:srgbClr val="FFCC99"/>
    <a:srgbClr val="9BC41D"/>
    <a:srgbClr val="F5FAFD"/>
    <a:srgbClr val="EBF5FB"/>
    <a:srgbClr val="595959"/>
    <a:srgbClr val="A6A6A6"/>
    <a:srgbClr val="26262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snapVertSplitter="1" vertBarState="minimized" horzBarState="maximized">
    <p:restoredLeft sz="4650" autoAdjust="0"/>
    <p:restoredTop sz="94660"/>
  </p:normalViewPr>
  <p:slideViewPr>
    <p:cSldViewPr snapToGrid="0" showGuides="1">
      <p:cViewPr>
        <p:scale>
          <a:sx n="96" d="100"/>
          <a:sy n="96" d="100"/>
        </p:scale>
        <p:origin x="1896" y="432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notesMaster" Target="notesMasters/notesMaster1.xml"/><Relationship Id="rId30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1673536222011744E-2"/>
          <c:y val="1.8852653333296148E-2"/>
          <c:w val="0.95645196894339346"/>
          <c:h val="0.9105073504597698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GROCERY</c:v>
                </c:pt>
              </c:strCache>
            </c:strRef>
          </c:tx>
          <c:spPr>
            <a:solidFill>
              <a:schemeClr val="tx1">
                <a:lumMod val="75000"/>
                <a:lumOff val="2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05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1</c:f>
              <c:strCache>
                <c:ptCount val="10"/>
                <c:pt idx="0">
                  <c:v>COMPANY 1</c:v>
                </c:pt>
                <c:pt idx="1">
                  <c:v>COMPANY 2</c:v>
                </c:pt>
                <c:pt idx="2">
                  <c:v>YOUR COMPANY</c:v>
                </c:pt>
                <c:pt idx="3">
                  <c:v>COMPANY 4</c:v>
                </c:pt>
                <c:pt idx="4">
                  <c:v>COMPANY 5</c:v>
                </c:pt>
                <c:pt idx="5">
                  <c:v>COMPANY 6</c:v>
                </c:pt>
                <c:pt idx="6">
                  <c:v>COMPANY 7</c:v>
                </c:pt>
                <c:pt idx="7">
                  <c:v>COMPANY 8</c:v>
                </c:pt>
                <c:pt idx="8">
                  <c:v>COMPANY 9</c:v>
                </c:pt>
                <c:pt idx="9">
                  <c:v>COMPANY 10</c:v>
                </c:pt>
              </c:strCache>
            </c:strRef>
          </c:cat>
          <c:val>
            <c:numRef>
              <c:f>Sheet1!$B$2:$B$11</c:f>
              <c:numCache>
                <c:formatCode>_(* #,##0_);_(* \(#,##0\);_(* "-"??_);_(@_)</c:formatCode>
                <c:ptCount val="10"/>
                <c:pt idx="0">
                  <c:v>5000</c:v>
                </c:pt>
                <c:pt idx="1">
                  <c:v>4500</c:v>
                </c:pt>
                <c:pt idx="2">
                  <c:v>3000</c:v>
                </c:pt>
                <c:pt idx="3">
                  <c:v>6500</c:v>
                </c:pt>
                <c:pt idx="4">
                  <c:v>4800</c:v>
                </c:pt>
                <c:pt idx="5">
                  <c:v>7000</c:v>
                </c:pt>
                <c:pt idx="6">
                  <c:v>3500</c:v>
                </c:pt>
                <c:pt idx="7">
                  <c:v>2300</c:v>
                </c:pt>
                <c:pt idx="8">
                  <c:v>5050</c:v>
                </c:pt>
                <c:pt idx="9">
                  <c:v>48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DFB-45E0-9CA9-9CCA43DA8F4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DAIRY</c:v>
                </c:pt>
              </c:strCache>
            </c:strRef>
          </c:tx>
          <c:spPr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05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1</c:f>
              <c:strCache>
                <c:ptCount val="10"/>
                <c:pt idx="0">
                  <c:v>COMPANY 1</c:v>
                </c:pt>
                <c:pt idx="1">
                  <c:v>COMPANY 2</c:v>
                </c:pt>
                <c:pt idx="2">
                  <c:v>YOUR COMPANY</c:v>
                </c:pt>
                <c:pt idx="3">
                  <c:v>COMPANY 4</c:v>
                </c:pt>
                <c:pt idx="4">
                  <c:v>COMPANY 5</c:v>
                </c:pt>
                <c:pt idx="5">
                  <c:v>COMPANY 6</c:v>
                </c:pt>
                <c:pt idx="6">
                  <c:v>COMPANY 7</c:v>
                </c:pt>
                <c:pt idx="7">
                  <c:v>COMPANY 8</c:v>
                </c:pt>
                <c:pt idx="8">
                  <c:v>COMPANY 9</c:v>
                </c:pt>
                <c:pt idx="9">
                  <c:v>COMPANY 10</c:v>
                </c:pt>
              </c:strCache>
            </c:strRef>
          </c:cat>
          <c:val>
            <c:numRef>
              <c:f>Sheet1!$C$2:$C$11</c:f>
              <c:numCache>
                <c:formatCode>_(* #,##0_);_(* \(#,##0\);_(* "-"??_);_(@_)</c:formatCode>
                <c:ptCount val="10"/>
                <c:pt idx="0">
                  <c:v>3500</c:v>
                </c:pt>
                <c:pt idx="1">
                  <c:v>2300</c:v>
                </c:pt>
                <c:pt idx="2">
                  <c:v>5050</c:v>
                </c:pt>
                <c:pt idx="3">
                  <c:v>4800</c:v>
                </c:pt>
                <c:pt idx="4">
                  <c:v>4500</c:v>
                </c:pt>
                <c:pt idx="5">
                  <c:v>3000</c:v>
                </c:pt>
                <c:pt idx="6">
                  <c:v>6500</c:v>
                </c:pt>
                <c:pt idx="7">
                  <c:v>5000</c:v>
                </c:pt>
                <c:pt idx="8">
                  <c:v>7000</c:v>
                </c:pt>
                <c:pt idx="9">
                  <c:v>3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BDFB-45E0-9CA9-9CCA43DA8F4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DAIRY3</c:v>
                </c:pt>
              </c:strCache>
            </c:strRef>
          </c:tx>
          <c:spPr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1</c:f>
              <c:strCache>
                <c:ptCount val="10"/>
                <c:pt idx="0">
                  <c:v>COMPANY 1</c:v>
                </c:pt>
                <c:pt idx="1">
                  <c:v>COMPANY 2</c:v>
                </c:pt>
                <c:pt idx="2">
                  <c:v>YOUR COMPANY</c:v>
                </c:pt>
                <c:pt idx="3">
                  <c:v>COMPANY 4</c:v>
                </c:pt>
                <c:pt idx="4">
                  <c:v>COMPANY 5</c:v>
                </c:pt>
                <c:pt idx="5">
                  <c:v>COMPANY 6</c:v>
                </c:pt>
                <c:pt idx="6">
                  <c:v>COMPANY 7</c:v>
                </c:pt>
                <c:pt idx="7">
                  <c:v>COMPANY 8</c:v>
                </c:pt>
                <c:pt idx="8">
                  <c:v>COMPANY 9</c:v>
                </c:pt>
                <c:pt idx="9">
                  <c:v>COMPANY 10</c:v>
                </c:pt>
              </c:strCache>
            </c:strRef>
          </c:cat>
          <c:val>
            <c:numRef>
              <c:f>Sheet1!$D$2:$D$11</c:f>
              <c:numCache>
                <c:formatCode>_(* #,##0_);_(* \(#,##0\);_(* "-"??_);_(@_)</c:formatCode>
                <c:ptCount val="10"/>
                <c:pt idx="0">
                  <c:v>5050</c:v>
                </c:pt>
                <c:pt idx="1">
                  <c:v>4800</c:v>
                </c:pt>
                <c:pt idx="2">
                  <c:v>4500</c:v>
                </c:pt>
                <c:pt idx="3">
                  <c:v>3000</c:v>
                </c:pt>
                <c:pt idx="4">
                  <c:v>6500</c:v>
                </c:pt>
                <c:pt idx="5">
                  <c:v>5000</c:v>
                </c:pt>
                <c:pt idx="6">
                  <c:v>7000</c:v>
                </c:pt>
                <c:pt idx="7">
                  <c:v>3000</c:v>
                </c:pt>
                <c:pt idx="8">
                  <c:v>4800</c:v>
                </c:pt>
                <c:pt idx="9">
                  <c:v>65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A29-4D18-A6DC-ACF3914E4B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9"/>
        <c:axId val="381272424"/>
        <c:axId val="381276736"/>
      </c:barChart>
      <c:catAx>
        <c:axId val="3812724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000" b="1" i="0" u="none" strike="noStrike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81276736"/>
        <c:crosses val="autoZero"/>
        <c:auto val="1"/>
        <c:lblAlgn val="ctr"/>
        <c:lblOffset val="100"/>
        <c:noMultiLvlLbl val="0"/>
      </c:catAx>
      <c:valAx>
        <c:axId val="3812767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812724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4230344459800161E-2"/>
          <c:y val="1.8852653333296148E-2"/>
          <c:w val="0.95645196894339346"/>
          <c:h val="0.9105073504597698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VEN ORD CYC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BDFB-45E0-9CA9-9CCA43DA8F4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1</c:f>
              <c:strCache>
                <c:ptCount val="10"/>
                <c:pt idx="0">
                  <c:v>COMPANY 1</c:v>
                </c:pt>
                <c:pt idx="1">
                  <c:v>COMPANY 2</c:v>
                </c:pt>
                <c:pt idx="2">
                  <c:v>YOUR COMPANY</c:v>
                </c:pt>
                <c:pt idx="3">
                  <c:v>COMPANY 4</c:v>
                </c:pt>
                <c:pt idx="4">
                  <c:v>COMPANY 5</c:v>
                </c:pt>
                <c:pt idx="5">
                  <c:v>COMPANY 6</c:v>
                </c:pt>
                <c:pt idx="6">
                  <c:v>COMPANY 7</c:v>
                </c:pt>
                <c:pt idx="7">
                  <c:v>COMPANY 8</c:v>
                </c:pt>
                <c:pt idx="8">
                  <c:v>COMPANY 9</c:v>
                </c:pt>
                <c:pt idx="9">
                  <c:v>COMPANY 10</c:v>
                </c:pt>
              </c:strCache>
            </c:strRef>
          </c:cat>
          <c:val>
            <c:numRef>
              <c:f>Sheet1!$B$2:$B$11</c:f>
              <c:numCache>
                <c:formatCode>_(* #,##0_);_(* \(#,##0\);_(* "-"??_);_(@_)</c:formatCode>
                <c:ptCount val="10"/>
                <c:pt idx="0">
                  <c:v>14</c:v>
                </c:pt>
                <c:pt idx="1">
                  <c:v>10</c:v>
                </c:pt>
                <c:pt idx="2">
                  <c:v>18</c:v>
                </c:pt>
                <c:pt idx="3">
                  <c:v>12</c:v>
                </c:pt>
                <c:pt idx="4">
                  <c:v>14</c:v>
                </c:pt>
                <c:pt idx="5">
                  <c:v>16</c:v>
                </c:pt>
                <c:pt idx="6">
                  <c:v>12</c:v>
                </c:pt>
                <c:pt idx="7">
                  <c:v>15</c:v>
                </c:pt>
                <c:pt idx="8">
                  <c:v>10</c:v>
                </c:pt>
                <c:pt idx="9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DFB-45E0-9CA9-9CCA43DA8F4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ITEM EFF CYCLE</c:v>
                </c:pt>
              </c:strCache>
            </c:strRef>
          </c:tx>
          <c:spPr>
            <a:solidFill>
              <a:srgbClr val="9BC41D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1</c:f>
              <c:strCache>
                <c:ptCount val="10"/>
                <c:pt idx="0">
                  <c:v>COMPANY 1</c:v>
                </c:pt>
                <c:pt idx="1">
                  <c:v>COMPANY 2</c:v>
                </c:pt>
                <c:pt idx="2">
                  <c:v>YOUR COMPANY</c:v>
                </c:pt>
                <c:pt idx="3">
                  <c:v>COMPANY 4</c:v>
                </c:pt>
                <c:pt idx="4">
                  <c:v>COMPANY 5</c:v>
                </c:pt>
                <c:pt idx="5">
                  <c:v>COMPANY 6</c:v>
                </c:pt>
                <c:pt idx="6">
                  <c:v>COMPANY 7</c:v>
                </c:pt>
                <c:pt idx="7">
                  <c:v>COMPANY 8</c:v>
                </c:pt>
                <c:pt idx="8">
                  <c:v>COMPANY 9</c:v>
                </c:pt>
                <c:pt idx="9">
                  <c:v>COMPANY 10</c:v>
                </c:pt>
              </c:strCache>
            </c:strRef>
          </c:cat>
          <c:val>
            <c:numRef>
              <c:f>Sheet1!$C$2:$C$11</c:f>
              <c:numCache>
                <c:formatCode>_(* #,##0_);_(* \(#,##0\);_(* "-"??_);_(@_)</c:formatCode>
                <c:ptCount val="10"/>
                <c:pt idx="0">
                  <c:v>19</c:v>
                </c:pt>
                <c:pt idx="1">
                  <c:v>18</c:v>
                </c:pt>
                <c:pt idx="2">
                  <c:v>25</c:v>
                </c:pt>
                <c:pt idx="3">
                  <c:v>20</c:v>
                </c:pt>
                <c:pt idx="4">
                  <c:v>22</c:v>
                </c:pt>
                <c:pt idx="5">
                  <c:v>24</c:v>
                </c:pt>
                <c:pt idx="6">
                  <c:v>20</c:v>
                </c:pt>
                <c:pt idx="7">
                  <c:v>22</c:v>
                </c:pt>
                <c:pt idx="8">
                  <c:v>18</c:v>
                </c:pt>
                <c:pt idx="9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BDFB-45E0-9CA9-9CCA43DA8F4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UY MULT DAY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COMPANY 1</c:v>
                </c:pt>
                <c:pt idx="1">
                  <c:v>COMPANY 2</c:v>
                </c:pt>
                <c:pt idx="2">
                  <c:v>YOUR COMPANY</c:v>
                </c:pt>
                <c:pt idx="3">
                  <c:v>COMPANY 4</c:v>
                </c:pt>
                <c:pt idx="4">
                  <c:v>COMPANY 5</c:v>
                </c:pt>
                <c:pt idx="5">
                  <c:v>COMPANY 6</c:v>
                </c:pt>
                <c:pt idx="6">
                  <c:v>COMPANY 7</c:v>
                </c:pt>
                <c:pt idx="7">
                  <c:v>COMPANY 8</c:v>
                </c:pt>
                <c:pt idx="8">
                  <c:v>COMPANY 9</c:v>
                </c:pt>
                <c:pt idx="9">
                  <c:v>COMPANY 10</c:v>
                </c:pt>
              </c:strCache>
            </c:strRef>
          </c:cat>
          <c:val>
            <c:numRef>
              <c:f>Sheet1!$D$2:$D$11</c:f>
              <c:numCache>
                <c:formatCode>_(* #,##0_);_(* \(#,##0\);_(* "-"??_);_(@_)</c:formatCode>
                <c:ptCount val="10"/>
                <c:pt idx="0">
                  <c:v>9</c:v>
                </c:pt>
                <c:pt idx="1">
                  <c:v>12</c:v>
                </c:pt>
                <c:pt idx="2">
                  <c:v>13</c:v>
                </c:pt>
                <c:pt idx="3">
                  <c:v>5</c:v>
                </c:pt>
                <c:pt idx="4">
                  <c:v>8</c:v>
                </c:pt>
                <c:pt idx="5">
                  <c:v>5</c:v>
                </c:pt>
                <c:pt idx="6">
                  <c:v>11</c:v>
                </c:pt>
                <c:pt idx="7">
                  <c:v>9</c:v>
                </c:pt>
                <c:pt idx="8">
                  <c:v>14</c:v>
                </c:pt>
                <c:pt idx="9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FCE-4AD1-B36C-0E0F3B6D8D9B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%ICYCLE &gt; VCYCLE</c:v>
                </c:pt>
              </c:strCache>
            </c:strRef>
          </c:tx>
          <c:spPr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COMPANY 1</c:v>
                </c:pt>
                <c:pt idx="1">
                  <c:v>COMPANY 2</c:v>
                </c:pt>
                <c:pt idx="2">
                  <c:v>YOUR COMPANY</c:v>
                </c:pt>
                <c:pt idx="3">
                  <c:v>COMPANY 4</c:v>
                </c:pt>
                <c:pt idx="4">
                  <c:v>COMPANY 5</c:v>
                </c:pt>
                <c:pt idx="5">
                  <c:v>COMPANY 6</c:v>
                </c:pt>
                <c:pt idx="6">
                  <c:v>COMPANY 7</c:v>
                </c:pt>
                <c:pt idx="7">
                  <c:v>COMPANY 8</c:v>
                </c:pt>
                <c:pt idx="8">
                  <c:v>COMPANY 9</c:v>
                </c:pt>
                <c:pt idx="9">
                  <c:v>COMPANY 10</c:v>
                </c:pt>
              </c:strCache>
            </c:strRef>
          </c:cat>
          <c:val>
            <c:numRef>
              <c:f>Sheet1!$E$2:$E$11</c:f>
              <c:numCache>
                <c:formatCode>_(* #,##0_);_(* \(#,##0\);_(* "-"??_);_(@_)</c:formatCode>
                <c:ptCount val="10"/>
                <c:pt idx="0">
                  <c:v>25</c:v>
                </c:pt>
                <c:pt idx="1">
                  <c:v>18</c:v>
                </c:pt>
                <c:pt idx="2">
                  <c:v>31</c:v>
                </c:pt>
                <c:pt idx="3">
                  <c:v>24</c:v>
                </c:pt>
                <c:pt idx="4">
                  <c:v>15</c:v>
                </c:pt>
                <c:pt idx="5">
                  <c:v>37</c:v>
                </c:pt>
                <c:pt idx="6">
                  <c:v>25</c:v>
                </c:pt>
                <c:pt idx="7">
                  <c:v>29</c:v>
                </c:pt>
                <c:pt idx="8">
                  <c:v>18</c:v>
                </c:pt>
                <c:pt idx="9">
                  <c:v>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FCE-4AD1-B36C-0E0F3B6D8D9B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99"/>
        <c:axId val="381272424"/>
        <c:axId val="381276736"/>
      </c:barChart>
      <c:catAx>
        <c:axId val="3812724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81276736"/>
        <c:crosses val="autoZero"/>
        <c:auto val="1"/>
        <c:lblAlgn val="ctr"/>
        <c:lblOffset val="100"/>
        <c:noMultiLvlLbl val="0"/>
      </c:catAx>
      <c:valAx>
        <c:axId val="3812767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812724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4230344459800161E-2"/>
          <c:y val="1.8852653333296148E-2"/>
          <c:w val="0.95645196894339346"/>
          <c:h val="0.9105073504597698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ONE DAY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BDFB-45E0-9CA9-9CCA43DA8F4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1</c:f>
              <c:strCache>
                <c:ptCount val="10"/>
                <c:pt idx="0">
                  <c:v>COMPANY 1</c:v>
                </c:pt>
                <c:pt idx="1">
                  <c:v>COMPANY 2</c:v>
                </c:pt>
                <c:pt idx="2">
                  <c:v>YOUR COMPANY</c:v>
                </c:pt>
                <c:pt idx="3">
                  <c:v>COMPANY 4</c:v>
                </c:pt>
                <c:pt idx="4">
                  <c:v>COMPANY 5</c:v>
                </c:pt>
                <c:pt idx="5">
                  <c:v>COMPANY 6</c:v>
                </c:pt>
                <c:pt idx="6">
                  <c:v>COMPANY 7</c:v>
                </c:pt>
                <c:pt idx="7">
                  <c:v>COMPANY 8</c:v>
                </c:pt>
                <c:pt idx="8">
                  <c:v>COMPANY 9</c:v>
                </c:pt>
                <c:pt idx="9">
                  <c:v>COMPANY 10</c:v>
                </c:pt>
              </c:strCache>
            </c:strRef>
          </c:cat>
          <c:val>
            <c:numRef>
              <c:f>Sheet1!$B$2:$B$11</c:f>
              <c:numCache>
                <c:formatCode>_(* #,##0_);_(* \(#,##0\);_(* "-"??_);_(@_)</c:formatCode>
                <c:ptCount val="10"/>
                <c:pt idx="0">
                  <c:v>4</c:v>
                </c:pt>
                <c:pt idx="1">
                  <c:v>12</c:v>
                </c:pt>
                <c:pt idx="2">
                  <c:v>5.5</c:v>
                </c:pt>
                <c:pt idx="3">
                  <c:v>3</c:v>
                </c:pt>
                <c:pt idx="4">
                  <c:v>9.8000000000000007</c:v>
                </c:pt>
                <c:pt idx="5">
                  <c:v>16</c:v>
                </c:pt>
                <c:pt idx="6">
                  <c:v>7.6</c:v>
                </c:pt>
                <c:pt idx="7">
                  <c:v>5.4</c:v>
                </c:pt>
                <c:pt idx="8">
                  <c:v>3</c:v>
                </c:pt>
                <c:pt idx="9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DFB-45E0-9CA9-9CCA43DA8F4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ARRY RATE</c:v>
                </c:pt>
              </c:strCache>
            </c:strRef>
          </c:tx>
          <c:spPr>
            <a:solidFill>
              <a:schemeClr val="bg2">
                <a:lumMod val="2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1</c:f>
              <c:strCache>
                <c:ptCount val="10"/>
                <c:pt idx="0">
                  <c:v>COMPANY 1</c:v>
                </c:pt>
                <c:pt idx="1">
                  <c:v>COMPANY 2</c:v>
                </c:pt>
                <c:pt idx="2">
                  <c:v>YOUR COMPANY</c:v>
                </c:pt>
                <c:pt idx="3">
                  <c:v>COMPANY 4</c:v>
                </c:pt>
                <c:pt idx="4">
                  <c:v>COMPANY 5</c:v>
                </c:pt>
                <c:pt idx="5">
                  <c:v>COMPANY 6</c:v>
                </c:pt>
                <c:pt idx="6">
                  <c:v>COMPANY 7</c:v>
                </c:pt>
                <c:pt idx="7">
                  <c:v>COMPANY 8</c:v>
                </c:pt>
                <c:pt idx="8">
                  <c:v>COMPANY 9</c:v>
                </c:pt>
                <c:pt idx="9">
                  <c:v>COMPANY 10</c:v>
                </c:pt>
              </c:strCache>
            </c:strRef>
          </c:cat>
          <c:val>
            <c:numRef>
              <c:f>Sheet1!$C$2:$C$11</c:f>
              <c:numCache>
                <c:formatCode>_(* #,##0_);_(* \(#,##0\);_(* "-"??_);_(@_)</c:formatCode>
                <c:ptCount val="10"/>
                <c:pt idx="0">
                  <c:v>35</c:v>
                </c:pt>
                <c:pt idx="1">
                  <c:v>30</c:v>
                </c:pt>
                <c:pt idx="2">
                  <c:v>25</c:v>
                </c:pt>
                <c:pt idx="3">
                  <c:v>30</c:v>
                </c:pt>
                <c:pt idx="4">
                  <c:v>23</c:v>
                </c:pt>
                <c:pt idx="5">
                  <c:v>19</c:v>
                </c:pt>
                <c:pt idx="6">
                  <c:v>27</c:v>
                </c:pt>
                <c:pt idx="7">
                  <c:v>22</c:v>
                </c:pt>
                <c:pt idx="8">
                  <c:v>18</c:v>
                </c:pt>
                <c:pt idx="9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BDFB-45E0-9CA9-9CCA43DA8F4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ACQUISITION</c:v>
                </c:pt>
              </c:strCache>
            </c:strRef>
          </c:tx>
          <c:spPr>
            <a:solidFill>
              <a:schemeClr val="accent4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COMPANY 1</c:v>
                </c:pt>
                <c:pt idx="1">
                  <c:v>COMPANY 2</c:v>
                </c:pt>
                <c:pt idx="2">
                  <c:v>YOUR COMPANY</c:v>
                </c:pt>
                <c:pt idx="3">
                  <c:v>COMPANY 4</c:v>
                </c:pt>
                <c:pt idx="4">
                  <c:v>COMPANY 5</c:v>
                </c:pt>
                <c:pt idx="5">
                  <c:v>COMPANY 6</c:v>
                </c:pt>
                <c:pt idx="6">
                  <c:v>COMPANY 7</c:v>
                </c:pt>
                <c:pt idx="7">
                  <c:v>COMPANY 8</c:v>
                </c:pt>
                <c:pt idx="8">
                  <c:v>COMPANY 9</c:v>
                </c:pt>
                <c:pt idx="9">
                  <c:v>COMPANY 10</c:v>
                </c:pt>
              </c:strCache>
            </c:strRef>
          </c:cat>
          <c:val>
            <c:numRef>
              <c:f>Sheet1!$D$2:$D$11</c:f>
              <c:numCache>
                <c:formatCode>_(* #,##0.0_);_(* \(#,##0.0\);_(* "-"??_);_(@_)</c:formatCode>
                <c:ptCount val="10"/>
                <c:pt idx="0">
                  <c:v>2</c:v>
                </c:pt>
                <c:pt idx="1">
                  <c:v>3.5</c:v>
                </c:pt>
                <c:pt idx="2">
                  <c:v>2.5</c:v>
                </c:pt>
                <c:pt idx="3">
                  <c:v>3</c:v>
                </c:pt>
                <c:pt idx="4">
                  <c:v>3.5</c:v>
                </c:pt>
                <c:pt idx="5">
                  <c:v>1.8</c:v>
                </c:pt>
                <c:pt idx="6">
                  <c:v>4.2</c:v>
                </c:pt>
                <c:pt idx="7">
                  <c:v>2.8</c:v>
                </c:pt>
                <c:pt idx="8">
                  <c:v>3.2</c:v>
                </c:pt>
                <c:pt idx="9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FCE-4AD1-B36C-0E0F3B6D8D9B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COMPANY 1</c:v>
                </c:pt>
                <c:pt idx="1">
                  <c:v>COMPANY 2</c:v>
                </c:pt>
                <c:pt idx="2">
                  <c:v>YOUR COMPANY</c:v>
                </c:pt>
                <c:pt idx="3">
                  <c:v>COMPANY 4</c:v>
                </c:pt>
                <c:pt idx="4">
                  <c:v>COMPANY 5</c:v>
                </c:pt>
                <c:pt idx="5">
                  <c:v>COMPANY 6</c:v>
                </c:pt>
                <c:pt idx="6">
                  <c:v>COMPANY 7</c:v>
                </c:pt>
                <c:pt idx="7">
                  <c:v>COMPANY 8</c:v>
                </c:pt>
                <c:pt idx="8">
                  <c:v>COMPANY 9</c:v>
                </c:pt>
                <c:pt idx="9">
                  <c:v>COMPANY 10</c:v>
                </c:pt>
              </c:strCache>
            </c:strRef>
          </c:cat>
          <c:val>
            <c:numRef>
              <c:f>Sheet1!$E$2:$E$11</c:f>
              <c:numCache>
                <c:formatCode>General</c:formatCode>
                <c:ptCount val="10"/>
              </c:numCache>
            </c:numRef>
          </c:val>
          <c:extLst>
            <c:ext xmlns:c16="http://schemas.microsoft.com/office/drawing/2014/chart" uri="{C3380CC4-5D6E-409C-BE32-E72D297353CC}">
              <c16:uniqueId val="{00000001-CFCE-4AD1-B36C-0E0F3B6D8D9B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99"/>
        <c:axId val="381272424"/>
        <c:axId val="381276736"/>
      </c:barChart>
      <c:catAx>
        <c:axId val="3812724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81276736"/>
        <c:crosses val="autoZero"/>
        <c:auto val="1"/>
        <c:lblAlgn val="ctr"/>
        <c:lblOffset val="100"/>
        <c:noMultiLvlLbl val="0"/>
      </c:catAx>
      <c:valAx>
        <c:axId val="3812767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812724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1673536222011744E-2"/>
          <c:y val="1.8852653333296148E-2"/>
          <c:w val="0.95645196894339346"/>
          <c:h val="0.9105073504597698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GROCERY</c:v>
                </c:pt>
              </c:strCache>
            </c:strRef>
          </c:tx>
          <c:spPr>
            <a:solidFill>
              <a:schemeClr val="tx1">
                <a:lumMod val="75000"/>
                <a:lumOff val="2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1</c:f>
              <c:strCache>
                <c:ptCount val="10"/>
                <c:pt idx="0">
                  <c:v>COMPANY 1</c:v>
                </c:pt>
                <c:pt idx="1">
                  <c:v>COMPANY 2</c:v>
                </c:pt>
                <c:pt idx="2">
                  <c:v>YOUR COMPANY</c:v>
                </c:pt>
                <c:pt idx="3">
                  <c:v>COMPANY 4</c:v>
                </c:pt>
                <c:pt idx="4">
                  <c:v>COMPANY 5</c:v>
                </c:pt>
                <c:pt idx="5">
                  <c:v>COMPANY 6</c:v>
                </c:pt>
                <c:pt idx="6">
                  <c:v>COMPANY 7</c:v>
                </c:pt>
                <c:pt idx="7">
                  <c:v>COMPANY 8</c:v>
                </c:pt>
                <c:pt idx="8">
                  <c:v>COMPANY 9</c:v>
                </c:pt>
                <c:pt idx="9">
                  <c:v>COMPANY 10</c:v>
                </c:pt>
              </c:strCache>
            </c:strRef>
          </c:cat>
          <c:val>
            <c:numRef>
              <c:f>Sheet1!$B$2:$B$11</c:f>
              <c:numCache>
                <c:formatCode>_(* #,##0_);_(* \(#,##0\);_(* "-"??_);_(@_)</c:formatCode>
                <c:ptCount val="10"/>
                <c:pt idx="0">
                  <c:v>5000</c:v>
                </c:pt>
                <c:pt idx="1">
                  <c:v>4500</c:v>
                </c:pt>
                <c:pt idx="2">
                  <c:v>3000</c:v>
                </c:pt>
                <c:pt idx="3">
                  <c:v>6500</c:v>
                </c:pt>
                <c:pt idx="4">
                  <c:v>4800</c:v>
                </c:pt>
                <c:pt idx="5">
                  <c:v>7000</c:v>
                </c:pt>
                <c:pt idx="6">
                  <c:v>3500</c:v>
                </c:pt>
                <c:pt idx="7">
                  <c:v>2300</c:v>
                </c:pt>
                <c:pt idx="8">
                  <c:v>5050</c:v>
                </c:pt>
                <c:pt idx="9">
                  <c:v>48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DFB-45E0-9CA9-9CCA43DA8F4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DAIRY</c:v>
                </c:pt>
              </c:strCache>
            </c:strRef>
          </c:tx>
          <c:spPr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1</c:f>
              <c:strCache>
                <c:ptCount val="10"/>
                <c:pt idx="0">
                  <c:v>COMPANY 1</c:v>
                </c:pt>
                <c:pt idx="1">
                  <c:v>COMPANY 2</c:v>
                </c:pt>
                <c:pt idx="2">
                  <c:v>YOUR COMPANY</c:v>
                </c:pt>
                <c:pt idx="3">
                  <c:v>COMPANY 4</c:v>
                </c:pt>
                <c:pt idx="4">
                  <c:v>COMPANY 5</c:v>
                </c:pt>
                <c:pt idx="5">
                  <c:v>COMPANY 6</c:v>
                </c:pt>
                <c:pt idx="6">
                  <c:v>COMPANY 7</c:v>
                </c:pt>
                <c:pt idx="7">
                  <c:v>COMPANY 8</c:v>
                </c:pt>
                <c:pt idx="8">
                  <c:v>COMPANY 9</c:v>
                </c:pt>
                <c:pt idx="9">
                  <c:v>COMPANY 10</c:v>
                </c:pt>
              </c:strCache>
            </c:strRef>
          </c:cat>
          <c:val>
            <c:numRef>
              <c:f>Sheet1!$C$2:$C$11</c:f>
              <c:numCache>
                <c:formatCode>_(* #,##0_);_(* \(#,##0\);_(* "-"??_);_(@_)</c:formatCode>
                <c:ptCount val="10"/>
                <c:pt idx="0">
                  <c:v>3500</c:v>
                </c:pt>
                <c:pt idx="1">
                  <c:v>2300</c:v>
                </c:pt>
                <c:pt idx="2">
                  <c:v>5050</c:v>
                </c:pt>
                <c:pt idx="3">
                  <c:v>4800</c:v>
                </c:pt>
                <c:pt idx="4">
                  <c:v>4500</c:v>
                </c:pt>
                <c:pt idx="5">
                  <c:v>3000</c:v>
                </c:pt>
                <c:pt idx="6">
                  <c:v>6500</c:v>
                </c:pt>
                <c:pt idx="7">
                  <c:v>5000</c:v>
                </c:pt>
                <c:pt idx="8">
                  <c:v>7000</c:v>
                </c:pt>
                <c:pt idx="9">
                  <c:v>3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BDFB-45E0-9CA9-9CCA43DA8F4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DAIRY3</c:v>
                </c:pt>
              </c:strCache>
            </c:strRef>
          </c:tx>
          <c:spPr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1</c:f>
              <c:strCache>
                <c:ptCount val="10"/>
                <c:pt idx="0">
                  <c:v>COMPANY 1</c:v>
                </c:pt>
                <c:pt idx="1">
                  <c:v>COMPANY 2</c:v>
                </c:pt>
                <c:pt idx="2">
                  <c:v>YOUR COMPANY</c:v>
                </c:pt>
                <c:pt idx="3">
                  <c:v>COMPANY 4</c:v>
                </c:pt>
                <c:pt idx="4">
                  <c:v>COMPANY 5</c:v>
                </c:pt>
                <c:pt idx="5">
                  <c:v>COMPANY 6</c:v>
                </c:pt>
                <c:pt idx="6">
                  <c:v>COMPANY 7</c:v>
                </c:pt>
                <c:pt idx="7">
                  <c:v>COMPANY 8</c:v>
                </c:pt>
                <c:pt idx="8">
                  <c:v>COMPANY 9</c:v>
                </c:pt>
                <c:pt idx="9">
                  <c:v>COMPANY 10</c:v>
                </c:pt>
              </c:strCache>
            </c:strRef>
          </c:cat>
          <c:val>
            <c:numRef>
              <c:f>Sheet1!$D$2:$D$11</c:f>
              <c:numCache>
                <c:formatCode>_(* #,##0_);_(* \(#,##0\);_(* "-"??_);_(@_)</c:formatCode>
                <c:ptCount val="10"/>
                <c:pt idx="0">
                  <c:v>5050</c:v>
                </c:pt>
                <c:pt idx="1">
                  <c:v>4800</c:v>
                </c:pt>
                <c:pt idx="2">
                  <c:v>4500</c:v>
                </c:pt>
                <c:pt idx="3">
                  <c:v>3000</c:v>
                </c:pt>
                <c:pt idx="4">
                  <c:v>6500</c:v>
                </c:pt>
                <c:pt idx="5">
                  <c:v>5000</c:v>
                </c:pt>
                <c:pt idx="6">
                  <c:v>7000</c:v>
                </c:pt>
                <c:pt idx="7">
                  <c:v>3000</c:v>
                </c:pt>
                <c:pt idx="8">
                  <c:v>4800</c:v>
                </c:pt>
                <c:pt idx="9">
                  <c:v>65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A29-4D18-A6DC-ACF3914E4B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9"/>
        <c:axId val="381272424"/>
        <c:axId val="381276736"/>
      </c:barChart>
      <c:catAx>
        <c:axId val="3812724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81276736"/>
        <c:crosses val="autoZero"/>
        <c:auto val="1"/>
        <c:lblAlgn val="ctr"/>
        <c:lblOffset val="100"/>
        <c:noMultiLvlLbl val="0"/>
      </c:catAx>
      <c:valAx>
        <c:axId val="3812767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812724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1673536222011744E-2"/>
          <c:y val="1.8852653333296148E-2"/>
          <c:w val="0.95645196894339346"/>
          <c:h val="0.9105073504597698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GROCERY</c:v>
                </c:pt>
              </c:strCache>
            </c:strRef>
          </c:tx>
          <c:spPr>
            <a:solidFill>
              <a:schemeClr val="tx1">
                <a:lumMod val="75000"/>
                <a:lumOff val="2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1</c:f>
              <c:strCache>
                <c:ptCount val="10"/>
                <c:pt idx="0">
                  <c:v>COMPANY 1</c:v>
                </c:pt>
                <c:pt idx="1">
                  <c:v>COMPANY 2</c:v>
                </c:pt>
                <c:pt idx="2">
                  <c:v>YOUR COMPANY</c:v>
                </c:pt>
                <c:pt idx="3">
                  <c:v>COMPANY 4</c:v>
                </c:pt>
                <c:pt idx="4">
                  <c:v>COMPANY 5</c:v>
                </c:pt>
                <c:pt idx="5">
                  <c:v>COMPANY 6</c:v>
                </c:pt>
                <c:pt idx="6">
                  <c:v>COMPANY 7</c:v>
                </c:pt>
                <c:pt idx="7">
                  <c:v>COMPANY 8</c:v>
                </c:pt>
                <c:pt idx="8">
                  <c:v>COMPANY 9</c:v>
                </c:pt>
                <c:pt idx="9">
                  <c:v>COMPANY 10</c:v>
                </c:pt>
              </c:strCache>
            </c:strRef>
          </c:cat>
          <c:val>
            <c:numRef>
              <c:f>Sheet1!$B$2:$B$11</c:f>
              <c:numCache>
                <c:formatCode>_(* #,##0_);_(* \(#,##0\);_(* "-"??_);_(@_)</c:formatCode>
                <c:ptCount val="10"/>
                <c:pt idx="0">
                  <c:v>5000</c:v>
                </c:pt>
                <c:pt idx="1">
                  <c:v>4500</c:v>
                </c:pt>
                <c:pt idx="2">
                  <c:v>3000</c:v>
                </c:pt>
                <c:pt idx="3">
                  <c:v>6500</c:v>
                </c:pt>
                <c:pt idx="4">
                  <c:v>4800</c:v>
                </c:pt>
                <c:pt idx="5">
                  <c:v>7000</c:v>
                </c:pt>
                <c:pt idx="6">
                  <c:v>3500</c:v>
                </c:pt>
                <c:pt idx="7">
                  <c:v>2300</c:v>
                </c:pt>
                <c:pt idx="8">
                  <c:v>5050</c:v>
                </c:pt>
                <c:pt idx="9">
                  <c:v>48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DFB-45E0-9CA9-9CCA43DA8F4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DAIRY</c:v>
                </c:pt>
              </c:strCache>
            </c:strRef>
          </c:tx>
          <c:spPr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1</c:f>
              <c:strCache>
                <c:ptCount val="10"/>
                <c:pt idx="0">
                  <c:v>COMPANY 1</c:v>
                </c:pt>
                <c:pt idx="1">
                  <c:v>COMPANY 2</c:v>
                </c:pt>
                <c:pt idx="2">
                  <c:v>YOUR COMPANY</c:v>
                </c:pt>
                <c:pt idx="3">
                  <c:v>COMPANY 4</c:v>
                </c:pt>
                <c:pt idx="4">
                  <c:v>COMPANY 5</c:v>
                </c:pt>
                <c:pt idx="5">
                  <c:v>COMPANY 6</c:v>
                </c:pt>
                <c:pt idx="6">
                  <c:v>COMPANY 7</c:v>
                </c:pt>
                <c:pt idx="7">
                  <c:v>COMPANY 8</c:v>
                </c:pt>
                <c:pt idx="8">
                  <c:v>COMPANY 9</c:v>
                </c:pt>
                <c:pt idx="9">
                  <c:v>COMPANY 10</c:v>
                </c:pt>
              </c:strCache>
            </c:strRef>
          </c:cat>
          <c:val>
            <c:numRef>
              <c:f>Sheet1!$C$2:$C$11</c:f>
              <c:numCache>
                <c:formatCode>_(* #,##0_);_(* \(#,##0\);_(* "-"??_);_(@_)</c:formatCode>
                <c:ptCount val="10"/>
                <c:pt idx="0">
                  <c:v>3500</c:v>
                </c:pt>
                <c:pt idx="1">
                  <c:v>2300</c:v>
                </c:pt>
                <c:pt idx="2">
                  <c:v>5050</c:v>
                </c:pt>
                <c:pt idx="3">
                  <c:v>4800</c:v>
                </c:pt>
                <c:pt idx="4">
                  <c:v>4500</c:v>
                </c:pt>
                <c:pt idx="5">
                  <c:v>3000</c:v>
                </c:pt>
                <c:pt idx="6">
                  <c:v>6500</c:v>
                </c:pt>
                <c:pt idx="7">
                  <c:v>5000</c:v>
                </c:pt>
                <c:pt idx="8">
                  <c:v>7000</c:v>
                </c:pt>
                <c:pt idx="9">
                  <c:v>3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BDFB-45E0-9CA9-9CCA43DA8F4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DAIRY3</c:v>
                </c:pt>
              </c:strCache>
            </c:strRef>
          </c:tx>
          <c:spPr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1</c:f>
              <c:strCache>
                <c:ptCount val="10"/>
                <c:pt idx="0">
                  <c:v>COMPANY 1</c:v>
                </c:pt>
                <c:pt idx="1">
                  <c:v>COMPANY 2</c:v>
                </c:pt>
                <c:pt idx="2">
                  <c:v>YOUR COMPANY</c:v>
                </c:pt>
                <c:pt idx="3">
                  <c:v>COMPANY 4</c:v>
                </c:pt>
                <c:pt idx="4">
                  <c:v>COMPANY 5</c:v>
                </c:pt>
                <c:pt idx="5">
                  <c:v>COMPANY 6</c:v>
                </c:pt>
                <c:pt idx="6">
                  <c:v>COMPANY 7</c:v>
                </c:pt>
                <c:pt idx="7">
                  <c:v>COMPANY 8</c:v>
                </c:pt>
                <c:pt idx="8">
                  <c:v>COMPANY 9</c:v>
                </c:pt>
                <c:pt idx="9">
                  <c:v>COMPANY 10</c:v>
                </c:pt>
              </c:strCache>
            </c:strRef>
          </c:cat>
          <c:val>
            <c:numRef>
              <c:f>Sheet1!$D$2:$D$11</c:f>
              <c:numCache>
                <c:formatCode>_(* #,##0_);_(* \(#,##0\);_(* "-"??_);_(@_)</c:formatCode>
                <c:ptCount val="10"/>
                <c:pt idx="0">
                  <c:v>5050</c:v>
                </c:pt>
                <c:pt idx="1">
                  <c:v>4800</c:v>
                </c:pt>
                <c:pt idx="2">
                  <c:v>4500</c:v>
                </c:pt>
                <c:pt idx="3">
                  <c:v>3000</c:v>
                </c:pt>
                <c:pt idx="4">
                  <c:v>6500</c:v>
                </c:pt>
                <c:pt idx="5">
                  <c:v>5000</c:v>
                </c:pt>
                <c:pt idx="6">
                  <c:v>7000</c:v>
                </c:pt>
                <c:pt idx="7">
                  <c:v>3000</c:v>
                </c:pt>
                <c:pt idx="8">
                  <c:v>4800</c:v>
                </c:pt>
                <c:pt idx="9">
                  <c:v>65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A29-4D18-A6DC-ACF3914E4B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9"/>
        <c:axId val="381272424"/>
        <c:axId val="381276736"/>
      </c:barChart>
      <c:catAx>
        <c:axId val="3812724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81276736"/>
        <c:crosses val="autoZero"/>
        <c:auto val="1"/>
        <c:lblAlgn val="ctr"/>
        <c:lblOffset val="100"/>
        <c:noMultiLvlLbl val="0"/>
      </c:catAx>
      <c:valAx>
        <c:axId val="3812767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812724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1673536222011744E-2"/>
          <c:y val="1.8852653333296148E-2"/>
          <c:w val="0.95645196894339346"/>
          <c:h val="0.9105073504597698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GROCERY</c:v>
                </c:pt>
              </c:strCache>
            </c:strRef>
          </c:tx>
          <c:spPr>
            <a:solidFill>
              <a:schemeClr val="tx1">
                <a:lumMod val="75000"/>
                <a:lumOff val="2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1</c:f>
              <c:strCache>
                <c:ptCount val="10"/>
                <c:pt idx="0">
                  <c:v>COMPANY 1</c:v>
                </c:pt>
                <c:pt idx="1">
                  <c:v>COMPANY 2</c:v>
                </c:pt>
                <c:pt idx="2">
                  <c:v>YOUR COMPANY</c:v>
                </c:pt>
                <c:pt idx="3">
                  <c:v>COMPANY 4</c:v>
                </c:pt>
                <c:pt idx="4">
                  <c:v>COMPANY 5</c:v>
                </c:pt>
                <c:pt idx="5">
                  <c:v>COMPANY 6</c:v>
                </c:pt>
                <c:pt idx="6">
                  <c:v>COMPANY 7</c:v>
                </c:pt>
                <c:pt idx="7">
                  <c:v>COMPANY 8</c:v>
                </c:pt>
                <c:pt idx="8">
                  <c:v>COMPANY 9</c:v>
                </c:pt>
                <c:pt idx="9">
                  <c:v>COMPANY 10</c:v>
                </c:pt>
              </c:strCache>
            </c:strRef>
          </c:cat>
          <c:val>
            <c:numRef>
              <c:f>Sheet1!$B$2:$B$11</c:f>
              <c:numCache>
                <c:formatCode>_(* #,##0_);_(* \(#,##0\);_(* "-"??_);_(@_)</c:formatCode>
                <c:ptCount val="10"/>
                <c:pt idx="0">
                  <c:v>5000</c:v>
                </c:pt>
                <c:pt idx="1">
                  <c:v>4500</c:v>
                </c:pt>
                <c:pt idx="2">
                  <c:v>3000</c:v>
                </c:pt>
                <c:pt idx="3">
                  <c:v>6500</c:v>
                </c:pt>
                <c:pt idx="4">
                  <c:v>4800</c:v>
                </c:pt>
                <c:pt idx="5">
                  <c:v>7000</c:v>
                </c:pt>
                <c:pt idx="6">
                  <c:v>3500</c:v>
                </c:pt>
                <c:pt idx="7">
                  <c:v>2300</c:v>
                </c:pt>
                <c:pt idx="8">
                  <c:v>5050</c:v>
                </c:pt>
                <c:pt idx="9">
                  <c:v>48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DFB-45E0-9CA9-9CCA43DA8F4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DAIRY</c:v>
                </c:pt>
              </c:strCache>
            </c:strRef>
          </c:tx>
          <c:spPr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1</c:f>
              <c:strCache>
                <c:ptCount val="10"/>
                <c:pt idx="0">
                  <c:v>COMPANY 1</c:v>
                </c:pt>
                <c:pt idx="1">
                  <c:v>COMPANY 2</c:v>
                </c:pt>
                <c:pt idx="2">
                  <c:v>YOUR COMPANY</c:v>
                </c:pt>
                <c:pt idx="3">
                  <c:v>COMPANY 4</c:v>
                </c:pt>
                <c:pt idx="4">
                  <c:v>COMPANY 5</c:v>
                </c:pt>
                <c:pt idx="5">
                  <c:v>COMPANY 6</c:v>
                </c:pt>
                <c:pt idx="6">
                  <c:v>COMPANY 7</c:v>
                </c:pt>
                <c:pt idx="7">
                  <c:v>COMPANY 8</c:v>
                </c:pt>
                <c:pt idx="8">
                  <c:v>COMPANY 9</c:v>
                </c:pt>
                <c:pt idx="9">
                  <c:v>COMPANY 10</c:v>
                </c:pt>
              </c:strCache>
            </c:strRef>
          </c:cat>
          <c:val>
            <c:numRef>
              <c:f>Sheet1!$C$2:$C$11</c:f>
              <c:numCache>
                <c:formatCode>_(* #,##0_);_(* \(#,##0\);_(* "-"??_);_(@_)</c:formatCode>
                <c:ptCount val="10"/>
                <c:pt idx="0">
                  <c:v>3500</c:v>
                </c:pt>
                <c:pt idx="1">
                  <c:v>2300</c:v>
                </c:pt>
                <c:pt idx="2">
                  <c:v>5050</c:v>
                </c:pt>
                <c:pt idx="3">
                  <c:v>4800</c:v>
                </c:pt>
                <c:pt idx="4">
                  <c:v>4500</c:v>
                </c:pt>
                <c:pt idx="5">
                  <c:v>3000</c:v>
                </c:pt>
                <c:pt idx="6">
                  <c:v>6500</c:v>
                </c:pt>
                <c:pt idx="7">
                  <c:v>5000</c:v>
                </c:pt>
                <c:pt idx="8">
                  <c:v>7000</c:v>
                </c:pt>
                <c:pt idx="9">
                  <c:v>3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BDFB-45E0-9CA9-9CCA43DA8F4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DAIRY3</c:v>
                </c:pt>
              </c:strCache>
            </c:strRef>
          </c:tx>
          <c:spPr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1</c:f>
              <c:strCache>
                <c:ptCount val="10"/>
                <c:pt idx="0">
                  <c:v>COMPANY 1</c:v>
                </c:pt>
                <c:pt idx="1">
                  <c:v>COMPANY 2</c:v>
                </c:pt>
                <c:pt idx="2">
                  <c:v>YOUR COMPANY</c:v>
                </c:pt>
                <c:pt idx="3">
                  <c:v>COMPANY 4</c:v>
                </c:pt>
                <c:pt idx="4">
                  <c:v>COMPANY 5</c:v>
                </c:pt>
                <c:pt idx="5">
                  <c:v>COMPANY 6</c:v>
                </c:pt>
                <c:pt idx="6">
                  <c:v>COMPANY 7</c:v>
                </c:pt>
                <c:pt idx="7">
                  <c:v>COMPANY 8</c:v>
                </c:pt>
                <c:pt idx="8">
                  <c:v>COMPANY 9</c:v>
                </c:pt>
                <c:pt idx="9">
                  <c:v>COMPANY 10</c:v>
                </c:pt>
              </c:strCache>
            </c:strRef>
          </c:cat>
          <c:val>
            <c:numRef>
              <c:f>Sheet1!$D$2:$D$11</c:f>
              <c:numCache>
                <c:formatCode>_(* #,##0_);_(* \(#,##0\);_(* "-"??_);_(@_)</c:formatCode>
                <c:ptCount val="10"/>
                <c:pt idx="0">
                  <c:v>5050</c:v>
                </c:pt>
                <c:pt idx="1">
                  <c:v>4800</c:v>
                </c:pt>
                <c:pt idx="2">
                  <c:v>4500</c:v>
                </c:pt>
                <c:pt idx="3">
                  <c:v>3000</c:v>
                </c:pt>
                <c:pt idx="4">
                  <c:v>6500</c:v>
                </c:pt>
                <c:pt idx="5">
                  <c:v>5000</c:v>
                </c:pt>
                <c:pt idx="6">
                  <c:v>7000</c:v>
                </c:pt>
                <c:pt idx="7">
                  <c:v>3000</c:v>
                </c:pt>
                <c:pt idx="8">
                  <c:v>4800</c:v>
                </c:pt>
                <c:pt idx="9">
                  <c:v>65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A29-4D18-A6DC-ACF3914E4B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9"/>
        <c:axId val="381272424"/>
        <c:axId val="381276736"/>
      </c:barChart>
      <c:catAx>
        <c:axId val="3812724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81276736"/>
        <c:crosses val="autoZero"/>
        <c:auto val="1"/>
        <c:lblAlgn val="ctr"/>
        <c:lblOffset val="100"/>
        <c:noMultiLvlLbl val="0"/>
      </c:catAx>
      <c:valAx>
        <c:axId val="3812767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812724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4230344459800161E-2"/>
          <c:y val="1.8852653333296148E-2"/>
          <c:w val="0.95645196894339346"/>
          <c:h val="0.9105073504597698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VEN ORD CYC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1</c:f>
              <c:strCache>
                <c:ptCount val="10"/>
                <c:pt idx="0">
                  <c:v>COMPANY 1</c:v>
                </c:pt>
                <c:pt idx="1">
                  <c:v>COMPANY 2</c:v>
                </c:pt>
                <c:pt idx="2">
                  <c:v>YOUR COMPANY</c:v>
                </c:pt>
                <c:pt idx="3">
                  <c:v>COMPANY 4</c:v>
                </c:pt>
                <c:pt idx="4">
                  <c:v>COMPANY 5</c:v>
                </c:pt>
                <c:pt idx="5">
                  <c:v>COMPANY 6</c:v>
                </c:pt>
                <c:pt idx="6">
                  <c:v>COMPANY 7</c:v>
                </c:pt>
                <c:pt idx="7">
                  <c:v>COMPANY 8</c:v>
                </c:pt>
                <c:pt idx="8">
                  <c:v>COMPANY 9</c:v>
                </c:pt>
                <c:pt idx="9">
                  <c:v>COMPANY 10</c:v>
                </c:pt>
              </c:strCache>
            </c:strRef>
          </c:cat>
          <c:val>
            <c:numRef>
              <c:f>Sheet1!$B$2:$B$11</c:f>
              <c:numCache>
                <c:formatCode>_(* #,##0_);_(* \(#,##0\);_(* "-"??_);_(@_)</c:formatCode>
                <c:ptCount val="10"/>
                <c:pt idx="0">
                  <c:v>14</c:v>
                </c:pt>
                <c:pt idx="1">
                  <c:v>10</c:v>
                </c:pt>
                <c:pt idx="2">
                  <c:v>18</c:v>
                </c:pt>
                <c:pt idx="3">
                  <c:v>12</c:v>
                </c:pt>
                <c:pt idx="4">
                  <c:v>14</c:v>
                </c:pt>
                <c:pt idx="5">
                  <c:v>16</c:v>
                </c:pt>
                <c:pt idx="6">
                  <c:v>12</c:v>
                </c:pt>
                <c:pt idx="7">
                  <c:v>15</c:v>
                </c:pt>
                <c:pt idx="8">
                  <c:v>10</c:v>
                </c:pt>
                <c:pt idx="9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DFB-45E0-9CA9-9CCA43DA8F4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ITEM EFF CYCLE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1</c:f>
              <c:strCache>
                <c:ptCount val="10"/>
                <c:pt idx="0">
                  <c:v>COMPANY 1</c:v>
                </c:pt>
                <c:pt idx="1">
                  <c:v>COMPANY 2</c:v>
                </c:pt>
                <c:pt idx="2">
                  <c:v>YOUR COMPANY</c:v>
                </c:pt>
                <c:pt idx="3">
                  <c:v>COMPANY 4</c:v>
                </c:pt>
                <c:pt idx="4">
                  <c:v>COMPANY 5</c:v>
                </c:pt>
                <c:pt idx="5">
                  <c:v>COMPANY 6</c:v>
                </c:pt>
                <c:pt idx="6">
                  <c:v>COMPANY 7</c:v>
                </c:pt>
                <c:pt idx="7">
                  <c:v>COMPANY 8</c:v>
                </c:pt>
                <c:pt idx="8">
                  <c:v>COMPANY 9</c:v>
                </c:pt>
                <c:pt idx="9">
                  <c:v>COMPANY 10</c:v>
                </c:pt>
              </c:strCache>
            </c:strRef>
          </c:cat>
          <c:val>
            <c:numRef>
              <c:f>Sheet1!$C$2:$C$11</c:f>
              <c:numCache>
                <c:formatCode>_(* #,##0_);_(* \(#,##0\);_(* "-"??_);_(@_)</c:formatCode>
                <c:ptCount val="10"/>
                <c:pt idx="0">
                  <c:v>19</c:v>
                </c:pt>
                <c:pt idx="1">
                  <c:v>18</c:v>
                </c:pt>
                <c:pt idx="2">
                  <c:v>25</c:v>
                </c:pt>
                <c:pt idx="3">
                  <c:v>20</c:v>
                </c:pt>
                <c:pt idx="4">
                  <c:v>22</c:v>
                </c:pt>
                <c:pt idx="5">
                  <c:v>24</c:v>
                </c:pt>
                <c:pt idx="6">
                  <c:v>20</c:v>
                </c:pt>
                <c:pt idx="7">
                  <c:v>22</c:v>
                </c:pt>
                <c:pt idx="8">
                  <c:v>18</c:v>
                </c:pt>
                <c:pt idx="9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BDFB-45E0-9CA9-9CCA43DA8F4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UY MULT DAYS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COMPANY 1</c:v>
                </c:pt>
                <c:pt idx="1">
                  <c:v>COMPANY 2</c:v>
                </c:pt>
                <c:pt idx="2">
                  <c:v>YOUR COMPANY</c:v>
                </c:pt>
                <c:pt idx="3">
                  <c:v>COMPANY 4</c:v>
                </c:pt>
                <c:pt idx="4">
                  <c:v>COMPANY 5</c:v>
                </c:pt>
                <c:pt idx="5">
                  <c:v>COMPANY 6</c:v>
                </c:pt>
                <c:pt idx="6">
                  <c:v>COMPANY 7</c:v>
                </c:pt>
                <c:pt idx="7">
                  <c:v>COMPANY 8</c:v>
                </c:pt>
                <c:pt idx="8">
                  <c:v>COMPANY 9</c:v>
                </c:pt>
                <c:pt idx="9">
                  <c:v>COMPANY 10</c:v>
                </c:pt>
              </c:strCache>
            </c:strRef>
          </c:cat>
          <c:val>
            <c:numRef>
              <c:f>Sheet1!$D$2:$D$11</c:f>
              <c:numCache>
                <c:formatCode>_(* #,##0_);_(* \(#,##0\);_(* "-"??_);_(@_)</c:formatCode>
                <c:ptCount val="10"/>
                <c:pt idx="0">
                  <c:v>9</c:v>
                </c:pt>
                <c:pt idx="1">
                  <c:v>12</c:v>
                </c:pt>
                <c:pt idx="2">
                  <c:v>13</c:v>
                </c:pt>
                <c:pt idx="3">
                  <c:v>5</c:v>
                </c:pt>
                <c:pt idx="4">
                  <c:v>8</c:v>
                </c:pt>
                <c:pt idx="5">
                  <c:v>5</c:v>
                </c:pt>
                <c:pt idx="6">
                  <c:v>11</c:v>
                </c:pt>
                <c:pt idx="7">
                  <c:v>9</c:v>
                </c:pt>
                <c:pt idx="8">
                  <c:v>14</c:v>
                </c:pt>
                <c:pt idx="9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FCE-4AD1-B36C-0E0F3B6D8D9B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%ICYCLE &gt; VCYCLE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COMPANY 1</c:v>
                </c:pt>
                <c:pt idx="1">
                  <c:v>COMPANY 2</c:v>
                </c:pt>
                <c:pt idx="2">
                  <c:v>YOUR COMPANY</c:v>
                </c:pt>
                <c:pt idx="3">
                  <c:v>COMPANY 4</c:v>
                </c:pt>
                <c:pt idx="4">
                  <c:v>COMPANY 5</c:v>
                </c:pt>
                <c:pt idx="5">
                  <c:v>COMPANY 6</c:v>
                </c:pt>
                <c:pt idx="6">
                  <c:v>COMPANY 7</c:v>
                </c:pt>
                <c:pt idx="7">
                  <c:v>COMPANY 8</c:v>
                </c:pt>
                <c:pt idx="8">
                  <c:v>COMPANY 9</c:v>
                </c:pt>
                <c:pt idx="9">
                  <c:v>COMPANY 10</c:v>
                </c:pt>
              </c:strCache>
            </c:strRef>
          </c:cat>
          <c:val>
            <c:numRef>
              <c:f>Sheet1!$E$2:$E$11</c:f>
              <c:numCache>
                <c:formatCode>_(* #,##0_);_(* \(#,##0\);_(* "-"??_);_(@_)</c:formatCode>
                <c:ptCount val="10"/>
                <c:pt idx="0">
                  <c:v>25</c:v>
                </c:pt>
                <c:pt idx="1">
                  <c:v>18</c:v>
                </c:pt>
                <c:pt idx="2">
                  <c:v>31</c:v>
                </c:pt>
                <c:pt idx="3">
                  <c:v>24</c:v>
                </c:pt>
                <c:pt idx="4">
                  <c:v>15</c:v>
                </c:pt>
                <c:pt idx="5">
                  <c:v>37</c:v>
                </c:pt>
                <c:pt idx="6">
                  <c:v>25</c:v>
                </c:pt>
                <c:pt idx="7">
                  <c:v>29</c:v>
                </c:pt>
                <c:pt idx="8">
                  <c:v>18</c:v>
                </c:pt>
                <c:pt idx="9">
                  <c:v>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FCE-4AD1-B36C-0E0F3B6D8D9B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99"/>
        <c:axId val="381272424"/>
        <c:axId val="381276736"/>
      </c:barChart>
      <c:catAx>
        <c:axId val="3812724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000" b="1" i="0" u="none" strike="noStrike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81276736"/>
        <c:crosses val="autoZero"/>
        <c:auto val="1"/>
        <c:lblAlgn val="ctr"/>
        <c:lblOffset val="100"/>
        <c:noMultiLvlLbl val="0"/>
      </c:catAx>
      <c:valAx>
        <c:axId val="3812767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812724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1673536222011744E-2"/>
          <c:y val="1.8852653333296148E-2"/>
          <c:w val="0.95645196894339346"/>
          <c:h val="0.9105073504597698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ASONAL</c:v>
                </c:pt>
              </c:strCache>
            </c:strRef>
          </c:tx>
          <c:spPr>
            <a:solidFill>
              <a:schemeClr val="accent5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-6.8239128754547032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BDFB-45E0-9CA9-9CCA43DA8F4B}"/>
                </c:ext>
              </c:extLst>
            </c:dLbl>
            <c:dLbl>
              <c:idx val="1"/>
              <c:layout>
                <c:manualLayout>
                  <c:x val="0"/>
                  <c:y val="-6.2989965004197263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DFB-45E0-9CA9-9CCA43DA8F4B}"/>
                </c:ext>
              </c:extLst>
            </c:dLbl>
            <c:dLbl>
              <c:idx val="2"/>
              <c:layout>
                <c:manualLayout>
                  <c:x val="-6.8474747423453106E-17"/>
                  <c:y val="-6.2989965004197263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BDFB-45E0-9CA9-9CCA43DA8F4B}"/>
                </c:ext>
              </c:extLst>
            </c:dLbl>
            <c:dLbl>
              <c:idx val="3"/>
              <c:layout>
                <c:manualLayout>
                  <c:x val="0"/>
                  <c:y val="-5.2491637503497814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DFB-45E0-9CA9-9CCA43DA8F4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1</c:f>
              <c:strCache>
                <c:ptCount val="10"/>
                <c:pt idx="0">
                  <c:v>COMPANY 1</c:v>
                </c:pt>
                <c:pt idx="1">
                  <c:v>COMPANY 2</c:v>
                </c:pt>
                <c:pt idx="2">
                  <c:v>YOUR COMPANY</c:v>
                </c:pt>
                <c:pt idx="3">
                  <c:v>COMPANY 4</c:v>
                </c:pt>
                <c:pt idx="4">
                  <c:v>COMPANY 5</c:v>
                </c:pt>
                <c:pt idx="5">
                  <c:v>COMPANY 6</c:v>
                </c:pt>
                <c:pt idx="6">
                  <c:v>COMPANY 7</c:v>
                </c:pt>
                <c:pt idx="7">
                  <c:v>COMPANY 8</c:v>
                </c:pt>
                <c:pt idx="8">
                  <c:v>COMPANY 9</c:v>
                </c:pt>
                <c:pt idx="9">
                  <c:v>COMPANY 10</c:v>
                </c:pt>
              </c:strCache>
            </c:strRef>
          </c:cat>
          <c:val>
            <c:numRef>
              <c:f>Sheet1!$B$2:$B$11</c:f>
              <c:numCache>
                <c:formatCode>0%</c:formatCode>
                <c:ptCount val="10"/>
                <c:pt idx="0">
                  <c:v>0.31</c:v>
                </c:pt>
                <c:pt idx="1">
                  <c:v>0.23</c:v>
                </c:pt>
                <c:pt idx="2">
                  <c:v>0.18</c:v>
                </c:pt>
                <c:pt idx="3">
                  <c:v>0.36</c:v>
                </c:pt>
                <c:pt idx="4">
                  <c:v>0.33</c:v>
                </c:pt>
                <c:pt idx="5">
                  <c:v>0.2</c:v>
                </c:pt>
                <c:pt idx="6">
                  <c:v>0.14000000000000001</c:v>
                </c:pt>
                <c:pt idx="7">
                  <c:v>0.28999999999999998</c:v>
                </c:pt>
                <c:pt idx="8">
                  <c:v>0.19</c:v>
                </c:pt>
                <c:pt idx="9">
                  <c:v>0.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DFB-45E0-9CA9-9CCA43DA8F4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LOW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-9.9734111256645663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BDFB-45E0-9CA9-9CCA43DA8F4B}"/>
                </c:ext>
              </c:extLst>
            </c:dLbl>
            <c:dLbl>
              <c:idx val="1"/>
              <c:layout>
                <c:manualLayout>
                  <c:x val="0"/>
                  <c:y val="-3.6744146252448401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BDFB-45E0-9CA9-9CCA43DA8F4B}"/>
                </c:ext>
              </c:extLst>
            </c:dLbl>
            <c:dLbl>
              <c:idx val="2"/>
              <c:layout>
                <c:manualLayout>
                  <c:x val="-6.8474747423453106E-17"/>
                  <c:y val="-7.8737456255246585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BDFB-45E0-9CA9-9CCA43DA8F4B}"/>
                </c:ext>
              </c:extLst>
            </c:dLbl>
            <c:dLbl>
              <c:idx val="3"/>
              <c:layout>
                <c:manualLayout>
                  <c:x val="0"/>
                  <c:y val="-5.2491637503497723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BDFB-45E0-9CA9-9CCA43DA8F4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1</c:f>
              <c:strCache>
                <c:ptCount val="10"/>
                <c:pt idx="0">
                  <c:v>COMPANY 1</c:v>
                </c:pt>
                <c:pt idx="1">
                  <c:v>COMPANY 2</c:v>
                </c:pt>
                <c:pt idx="2">
                  <c:v>YOUR COMPANY</c:v>
                </c:pt>
                <c:pt idx="3">
                  <c:v>COMPANY 4</c:v>
                </c:pt>
                <c:pt idx="4">
                  <c:v>COMPANY 5</c:v>
                </c:pt>
                <c:pt idx="5">
                  <c:v>COMPANY 6</c:v>
                </c:pt>
                <c:pt idx="6">
                  <c:v>COMPANY 7</c:v>
                </c:pt>
                <c:pt idx="7">
                  <c:v>COMPANY 8</c:v>
                </c:pt>
                <c:pt idx="8">
                  <c:v>COMPANY 9</c:v>
                </c:pt>
                <c:pt idx="9">
                  <c:v>COMPANY 10</c:v>
                </c:pt>
              </c:strCache>
            </c:strRef>
          </c:cat>
          <c:val>
            <c:numRef>
              <c:f>Sheet1!$C$2:$C$11</c:f>
              <c:numCache>
                <c:formatCode>0%</c:formatCode>
                <c:ptCount val="10"/>
                <c:pt idx="0">
                  <c:v>0.22</c:v>
                </c:pt>
                <c:pt idx="1">
                  <c:v>0.15</c:v>
                </c:pt>
                <c:pt idx="2">
                  <c:v>0.09</c:v>
                </c:pt>
                <c:pt idx="3">
                  <c:v>0.24</c:v>
                </c:pt>
                <c:pt idx="4">
                  <c:v>0.21</c:v>
                </c:pt>
                <c:pt idx="5">
                  <c:v>0.17</c:v>
                </c:pt>
                <c:pt idx="6">
                  <c:v>7.0000000000000007E-2</c:v>
                </c:pt>
                <c:pt idx="7">
                  <c:v>0.22</c:v>
                </c:pt>
                <c:pt idx="8">
                  <c:v>0.05</c:v>
                </c:pt>
                <c:pt idx="9">
                  <c:v>0.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BDFB-45E0-9CA9-9CCA43DA8F4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NEW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11</c:f>
              <c:strCache>
                <c:ptCount val="10"/>
                <c:pt idx="0">
                  <c:v>COMPANY 1</c:v>
                </c:pt>
                <c:pt idx="1">
                  <c:v>COMPANY 2</c:v>
                </c:pt>
                <c:pt idx="2">
                  <c:v>YOUR COMPANY</c:v>
                </c:pt>
                <c:pt idx="3">
                  <c:v>COMPANY 4</c:v>
                </c:pt>
                <c:pt idx="4">
                  <c:v>COMPANY 5</c:v>
                </c:pt>
                <c:pt idx="5">
                  <c:v>COMPANY 6</c:v>
                </c:pt>
                <c:pt idx="6">
                  <c:v>COMPANY 7</c:v>
                </c:pt>
                <c:pt idx="7">
                  <c:v>COMPANY 8</c:v>
                </c:pt>
                <c:pt idx="8">
                  <c:v>COMPANY 9</c:v>
                </c:pt>
                <c:pt idx="9">
                  <c:v>COMPANY 10</c:v>
                </c:pt>
              </c:strCache>
            </c:strRef>
          </c:cat>
          <c:val>
            <c:numRef>
              <c:f>Sheet1!$D$2:$D$11</c:f>
              <c:numCache>
                <c:formatCode>0%</c:formatCode>
                <c:ptCount val="10"/>
                <c:pt idx="0">
                  <c:v>0.04</c:v>
                </c:pt>
                <c:pt idx="1">
                  <c:v>0.06</c:v>
                </c:pt>
                <c:pt idx="2">
                  <c:v>0.03</c:v>
                </c:pt>
                <c:pt idx="3">
                  <c:v>7.0000000000000007E-2</c:v>
                </c:pt>
                <c:pt idx="4">
                  <c:v>0.02</c:v>
                </c:pt>
                <c:pt idx="5">
                  <c:v>7.0000000000000007E-2</c:v>
                </c:pt>
                <c:pt idx="6">
                  <c:v>0.04</c:v>
                </c:pt>
                <c:pt idx="7">
                  <c:v>0.08</c:v>
                </c:pt>
                <c:pt idx="8">
                  <c:v>0.02</c:v>
                </c:pt>
                <c:pt idx="9">
                  <c:v>0.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FE5-47BB-9495-C9A91FA5070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9"/>
        <c:axId val="381272424"/>
        <c:axId val="381276736"/>
      </c:barChart>
      <c:catAx>
        <c:axId val="3812724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81276736"/>
        <c:crosses val="autoZero"/>
        <c:auto val="1"/>
        <c:lblAlgn val="ctr"/>
        <c:lblOffset val="100"/>
        <c:noMultiLvlLbl val="0"/>
      </c:catAx>
      <c:valAx>
        <c:axId val="3812767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812724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1673536222011744E-2"/>
          <c:y val="1.8852653333296148E-2"/>
          <c:w val="0.95645196894339346"/>
          <c:h val="0.9105073504597698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GROCERY</c:v>
                </c:pt>
              </c:strCache>
            </c:strRef>
          </c:tx>
          <c:spPr>
            <a:solidFill>
              <a:schemeClr val="tx1">
                <a:lumMod val="75000"/>
                <a:lumOff val="2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1</c:f>
              <c:strCache>
                <c:ptCount val="10"/>
                <c:pt idx="0">
                  <c:v>COMPANY 1</c:v>
                </c:pt>
                <c:pt idx="1">
                  <c:v>COMPANY 2</c:v>
                </c:pt>
                <c:pt idx="2">
                  <c:v>YOUR COMPANY</c:v>
                </c:pt>
                <c:pt idx="3">
                  <c:v>COMPANY 4</c:v>
                </c:pt>
                <c:pt idx="4">
                  <c:v>COMPANY 5</c:v>
                </c:pt>
                <c:pt idx="5">
                  <c:v>COMPANY 6</c:v>
                </c:pt>
                <c:pt idx="6">
                  <c:v>COMPANY 7</c:v>
                </c:pt>
                <c:pt idx="7">
                  <c:v>COMPANY 8</c:v>
                </c:pt>
                <c:pt idx="8">
                  <c:v>COMPANY 9</c:v>
                </c:pt>
                <c:pt idx="9">
                  <c:v>COMPANY 10</c:v>
                </c:pt>
              </c:strCache>
            </c:strRef>
          </c:cat>
          <c:val>
            <c:numRef>
              <c:f>Sheet1!$B$2:$B$11</c:f>
              <c:numCache>
                <c:formatCode>_(* #,##0_);_(* \(#,##0\);_(* "-"??_);_(@_)</c:formatCode>
                <c:ptCount val="10"/>
                <c:pt idx="0">
                  <c:v>5000</c:v>
                </c:pt>
                <c:pt idx="1">
                  <c:v>4500</c:v>
                </c:pt>
                <c:pt idx="2">
                  <c:v>3000</c:v>
                </c:pt>
                <c:pt idx="3">
                  <c:v>6500</c:v>
                </c:pt>
                <c:pt idx="4">
                  <c:v>4800</c:v>
                </c:pt>
                <c:pt idx="5">
                  <c:v>7000</c:v>
                </c:pt>
                <c:pt idx="6">
                  <c:v>3500</c:v>
                </c:pt>
                <c:pt idx="7">
                  <c:v>2300</c:v>
                </c:pt>
                <c:pt idx="8">
                  <c:v>5050</c:v>
                </c:pt>
                <c:pt idx="9">
                  <c:v>48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DFB-45E0-9CA9-9CCA43DA8F4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DAIRY</c:v>
                </c:pt>
              </c:strCache>
            </c:strRef>
          </c:tx>
          <c:spPr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1</c:f>
              <c:strCache>
                <c:ptCount val="10"/>
                <c:pt idx="0">
                  <c:v>COMPANY 1</c:v>
                </c:pt>
                <c:pt idx="1">
                  <c:v>COMPANY 2</c:v>
                </c:pt>
                <c:pt idx="2">
                  <c:v>YOUR COMPANY</c:v>
                </c:pt>
                <c:pt idx="3">
                  <c:v>COMPANY 4</c:v>
                </c:pt>
                <c:pt idx="4">
                  <c:v>COMPANY 5</c:v>
                </c:pt>
                <c:pt idx="5">
                  <c:v>COMPANY 6</c:v>
                </c:pt>
                <c:pt idx="6">
                  <c:v>COMPANY 7</c:v>
                </c:pt>
                <c:pt idx="7">
                  <c:v>COMPANY 8</c:v>
                </c:pt>
                <c:pt idx="8">
                  <c:v>COMPANY 9</c:v>
                </c:pt>
                <c:pt idx="9">
                  <c:v>COMPANY 10</c:v>
                </c:pt>
              </c:strCache>
            </c:strRef>
          </c:cat>
          <c:val>
            <c:numRef>
              <c:f>Sheet1!$C$2:$C$11</c:f>
              <c:numCache>
                <c:formatCode>_(* #,##0_);_(* \(#,##0\);_(* "-"??_);_(@_)</c:formatCode>
                <c:ptCount val="10"/>
                <c:pt idx="0">
                  <c:v>3500</c:v>
                </c:pt>
                <c:pt idx="1">
                  <c:v>2300</c:v>
                </c:pt>
                <c:pt idx="2">
                  <c:v>5050</c:v>
                </c:pt>
                <c:pt idx="3">
                  <c:v>4800</c:v>
                </c:pt>
                <c:pt idx="4">
                  <c:v>4500</c:v>
                </c:pt>
                <c:pt idx="5">
                  <c:v>3000</c:v>
                </c:pt>
                <c:pt idx="6">
                  <c:v>6500</c:v>
                </c:pt>
                <c:pt idx="7">
                  <c:v>5000</c:v>
                </c:pt>
                <c:pt idx="8">
                  <c:v>7000</c:v>
                </c:pt>
                <c:pt idx="9">
                  <c:v>3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BDFB-45E0-9CA9-9CCA43DA8F4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GROCERY2</c:v>
                </c:pt>
              </c:strCache>
            </c:strRef>
          </c:tx>
          <c:spPr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1</c:f>
              <c:strCache>
                <c:ptCount val="10"/>
                <c:pt idx="0">
                  <c:v>COMPANY 1</c:v>
                </c:pt>
                <c:pt idx="1">
                  <c:v>COMPANY 2</c:v>
                </c:pt>
                <c:pt idx="2">
                  <c:v>YOUR COMPANY</c:v>
                </c:pt>
                <c:pt idx="3">
                  <c:v>COMPANY 4</c:v>
                </c:pt>
                <c:pt idx="4">
                  <c:v>COMPANY 5</c:v>
                </c:pt>
                <c:pt idx="5">
                  <c:v>COMPANY 6</c:v>
                </c:pt>
                <c:pt idx="6">
                  <c:v>COMPANY 7</c:v>
                </c:pt>
                <c:pt idx="7">
                  <c:v>COMPANY 8</c:v>
                </c:pt>
                <c:pt idx="8">
                  <c:v>COMPANY 9</c:v>
                </c:pt>
                <c:pt idx="9">
                  <c:v>COMPANY 10</c:v>
                </c:pt>
              </c:strCache>
            </c:strRef>
          </c:cat>
          <c:val>
            <c:numRef>
              <c:f>Sheet1!$D$2:$D$11</c:f>
              <c:numCache>
                <c:formatCode>_(* #,##0_);_(* \(#,##0\);_(* "-"??_);_(@_)</c:formatCode>
                <c:ptCount val="10"/>
                <c:pt idx="0">
                  <c:v>5000</c:v>
                </c:pt>
                <c:pt idx="1">
                  <c:v>4500</c:v>
                </c:pt>
                <c:pt idx="2">
                  <c:v>3000</c:v>
                </c:pt>
                <c:pt idx="3">
                  <c:v>6500</c:v>
                </c:pt>
                <c:pt idx="4">
                  <c:v>4800</c:v>
                </c:pt>
                <c:pt idx="5">
                  <c:v>7000</c:v>
                </c:pt>
                <c:pt idx="6">
                  <c:v>3500</c:v>
                </c:pt>
                <c:pt idx="7">
                  <c:v>2300</c:v>
                </c:pt>
                <c:pt idx="8">
                  <c:v>5050</c:v>
                </c:pt>
                <c:pt idx="9">
                  <c:v>48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A29-4D18-A6DC-ACF3914E4B2B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DAIRY3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1</c:f>
              <c:strCache>
                <c:ptCount val="10"/>
                <c:pt idx="0">
                  <c:v>COMPANY 1</c:v>
                </c:pt>
                <c:pt idx="1">
                  <c:v>COMPANY 2</c:v>
                </c:pt>
                <c:pt idx="2">
                  <c:v>YOUR COMPANY</c:v>
                </c:pt>
                <c:pt idx="3">
                  <c:v>COMPANY 4</c:v>
                </c:pt>
                <c:pt idx="4">
                  <c:v>COMPANY 5</c:v>
                </c:pt>
                <c:pt idx="5">
                  <c:v>COMPANY 6</c:v>
                </c:pt>
                <c:pt idx="6">
                  <c:v>COMPANY 7</c:v>
                </c:pt>
                <c:pt idx="7">
                  <c:v>COMPANY 8</c:v>
                </c:pt>
                <c:pt idx="8">
                  <c:v>COMPANY 9</c:v>
                </c:pt>
                <c:pt idx="9">
                  <c:v>COMPANY 10</c:v>
                </c:pt>
              </c:strCache>
            </c:strRef>
          </c:cat>
          <c:val>
            <c:numRef>
              <c:f>Sheet1!$E$2:$E$11</c:f>
              <c:numCache>
                <c:formatCode>_(* #,##0_);_(* \(#,##0\);_(* "-"??_);_(@_)</c:formatCode>
                <c:ptCount val="10"/>
                <c:pt idx="0">
                  <c:v>3500</c:v>
                </c:pt>
                <c:pt idx="1">
                  <c:v>2300</c:v>
                </c:pt>
                <c:pt idx="2">
                  <c:v>5050</c:v>
                </c:pt>
                <c:pt idx="3">
                  <c:v>4800</c:v>
                </c:pt>
                <c:pt idx="4">
                  <c:v>4500</c:v>
                </c:pt>
                <c:pt idx="5">
                  <c:v>3000</c:v>
                </c:pt>
                <c:pt idx="6">
                  <c:v>6500</c:v>
                </c:pt>
                <c:pt idx="7">
                  <c:v>5000</c:v>
                </c:pt>
                <c:pt idx="8">
                  <c:v>7000</c:v>
                </c:pt>
                <c:pt idx="9">
                  <c:v>3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A29-4D18-A6DC-ACF3914E4B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9"/>
        <c:axId val="381272424"/>
        <c:axId val="381276736"/>
      </c:barChart>
      <c:catAx>
        <c:axId val="3812724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pPr>
            <a:endParaRPr lang="en-US"/>
          </a:p>
        </c:txPr>
        <c:crossAx val="381276736"/>
        <c:crosses val="autoZero"/>
        <c:auto val="1"/>
        <c:lblAlgn val="ctr"/>
        <c:lblOffset val="100"/>
        <c:noMultiLvlLbl val="0"/>
      </c:catAx>
      <c:valAx>
        <c:axId val="3812767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812724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4230344459800161E-2"/>
          <c:y val="1.8852653333296148E-2"/>
          <c:w val="0.95645196894339346"/>
          <c:h val="0.9105073504597698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VEN ORD CYC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00" b="1" i="0" u="none" strike="noStrike" kern="1200" baseline="0">
                      <a:solidFill>
                        <a:schemeClr val="bg1"/>
                      </a:solidFill>
                      <a:latin typeface="Segoe UI" panose="020B0502040204020203" pitchFamily="34" charset="0"/>
                      <a:ea typeface="+mn-ea"/>
                      <a:cs typeface="Segoe UI" panose="020B0502040204020203" pitchFamily="34" charset="0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BDFB-45E0-9CA9-9CCA43DA8F4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1" i="0" u="none" strike="noStrike" kern="1200" baseline="0">
                    <a:solidFill>
                      <a:schemeClr val="bg1"/>
                    </a:solidFill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1</c:f>
              <c:strCache>
                <c:ptCount val="10"/>
                <c:pt idx="0">
                  <c:v>COMPANY 1</c:v>
                </c:pt>
                <c:pt idx="1">
                  <c:v>COMPANY 2</c:v>
                </c:pt>
                <c:pt idx="2">
                  <c:v>YOUR COMPANY</c:v>
                </c:pt>
                <c:pt idx="3">
                  <c:v>COMPANY 4</c:v>
                </c:pt>
                <c:pt idx="4">
                  <c:v>COMPANY 5</c:v>
                </c:pt>
                <c:pt idx="5">
                  <c:v>COMPANY 6</c:v>
                </c:pt>
                <c:pt idx="6">
                  <c:v>COMPANY 7</c:v>
                </c:pt>
                <c:pt idx="7">
                  <c:v>COMPANY 8</c:v>
                </c:pt>
                <c:pt idx="8">
                  <c:v>COMPANY 9</c:v>
                </c:pt>
                <c:pt idx="9">
                  <c:v>COMPANY 10</c:v>
                </c:pt>
              </c:strCache>
            </c:strRef>
          </c:cat>
          <c:val>
            <c:numRef>
              <c:f>Sheet1!$B$2:$B$11</c:f>
              <c:numCache>
                <c:formatCode>_(* #,##0_);_(* \(#,##0\);_(* "-"??_);_(@_)</c:formatCode>
                <c:ptCount val="10"/>
                <c:pt idx="0">
                  <c:v>14</c:v>
                </c:pt>
                <c:pt idx="1">
                  <c:v>10</c:v>
                </c:pt>
                <c:pt idx="2">
                  <c:v>18</c:v>
                </c:pt>
                <c:pt idx="3">
                  <c:v>12</c:v>
                </c:pt>
                <c:pt idx="4">
                  <c:v>14</c:v>
                </c:pt>
                <c:pt idx="5">
                  <c:v>16</c:v>
                </c:pt>
                <c:pt idx="6">
                  <c:v>12</c:v>
                </c:pt>
                <c:pt idx="7">
                  <c:v>15</c:v>
                </c:pt>
                <c:pt idx="8">
                  <c:v>10</c:v>
                </c:pt>
                <c:pt idx="9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DFB-45E0-9CA9-9CCA43DA8F4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ITEM EFF CYCLE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bg1"/>
                    </a:solidFill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1</c:f>
              <c:strCache>
                <c:ptCount val="10"/>
                <c:pt idx="0">
                  <c:v>COMPANY 1</c:v>
                </c:pt>
                <c:pt idx="1">
                  <c:v>COMPANY 2</c:v>
                </c:pt>
                <c:pt idx="2">
                  <c:v>YOUR COMPANY</c:v>
                </c:pt>
                <c:pt idx="3">
                  <c:v>COMPANY 4</c:v>
                </c:pt>
                <c:pt idx="4">
                  <c:v>COMPANY 5</c:v>
                </c:pt>
                <c:pt idx="5">
                  <c:v>COMPANY 6</c:v>
                </c:pt>
                <c:pt idx="6">
                  <c:v>COMPANY 7</c:v>
                </c:pt>
                <c:pt idx="7">
                  <c:v>COMPANY 8</c:v>
                </c:pt>
                <c:pt idx="8">
                  <c:v>COMPANY 9</c:v>
                </c:pt>
                <c:pt idx="9">
                  <c:v>COMPANY 10</c:v>
                </c:pt>
              </c:strCache>
            </c:strRef>
          </c:cat>
          <c:val>
            <c:numRef>
              <c:f>Sheet1!$C$2:$C$11</c:f>
              <c:numCache>
                <c:formatCode>_(* #,##0_);_(* \(#,##0\);_(* "-"??_);_(@_)</c:formatCode>
                <c:ptCount val="10"/>
                <c:pt idx="0">
                  <c:v>19</c:v>
                </c:pt>
                <c:pt idx="1">
                  <c:v>18</c:v>
                </c:pt>
                <c:pt idx="2">
                  <c:v>25</c:v>
                </c:pt>
                <c:pt idx="3">
                  <c:v>20</c:v>
                </c:pt>
                <c:pt idx="4">
                  <c:v>22</c:v>
                </c:pt>
                <c:pt idx="5">
                  <c:v>24</c:v>
                </c:pt>
                <c:pt idx="6">
                  <c:v>20</c:v>
                </c:pt>
                <c:pt idx="7">
                  <c:v>22</c:v>
                </c:pt>
                <c:pt idx="8">
                  <c:v>18</c:v>
                </c:pt>
                <c:pt idx="9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BDFB-45E0-9CA9-9CCA43DA8F4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UY MULT DAYS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bg1"/>
                    </a:solidFill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COMPANY 1</c:v>
                </c:pt>
                <c:pt idx="1">
                  <c:v>COMPANY 2</c:v>
                </c:pt>
                <c:pt idx="2">
                  <c:v>YOUR COMPANY</c:v>
                </c:pt>
                <c:pt idx="3">
                  <c:v>COMPANY 4</c:v>
                </c:pt>
                <c:pt idx="4">
                  <c:v>COMPANY 5</c:v>
                </c:pt>
                <c:pt idx="5">
                  <c:v>COMPANY 6</c:v>
                </c:pt>
                <c:pt idx="6">
                  <c:v>COMPANY 7</c:v>
                </c:pt>
                <c:pt idx="7">
                  <c:v>COMPANY 8</c:v>
                </c:pt>
                <c:pt idx="8">
                  <c:v>COMPANY 9</c:v>
                </c:pt>
                <c:pt idx="9">
                  <c:v>COMPANY 10</c:v>
                </c:pt>
              </c:strCache>
            </c:strRef>
          </c:cat>
          <c:val>
            <c:numRef>
              <c:f>Sheet1!$D$2:$D$11</c:f>
              <c:numCache>
                <c:formatCode>_(* #,##0_);_(* \(#,##0\);_(* "-"??_);_(@_)</c:formatCode>
                <c:ptCount val="10"/>
                <c:pt idx="0">
                  <c:v>9</c:v>
                </c:pt>
                <c:pt idx="1">
                  <c:v>12</c:v>
                </c:pt>
                <c:pt idx="2">
                  <c:v>13</c:v>
                </c:pt>
                <c:pt idx="3">
                  <c:v>5</c:v>
                </c:pt>
                <c:pt idx="4">
                  <c:v>8</c:v>
                </c:pt>
                <c:pt idx="5">
                  <c:v>5</c:v>
                </c:pt>
                <c:pt idx="6">
                  <c:v>11</c:v>
                </c:pt>
                <c:pt idx="7">
                  <c:v>9</c:v>
                </c:pt>
                <c:pt idx="8">
                  <c:v>14</c:v>
                </c:pt>
                <c:pt idx="9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FCE-4AD1-B36C-0E0F3B6D8D9B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%ICYCLE &gt; VCYCLE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bg1"/>
                    </a:solidFill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COMPANY 1</c:v>
                </c:pt>
                <c:pt idx="1">
                  <c:v>COMPANY 2</c:v>
                </c:pt>
                <c:pt idx="2">
                  <c:v>YOUR COMPANY</c:v>
                </c:pt>
                <c:pt idx="3">
                  <c:v>COMPANY 4</c:v>
                </c:pt>
                <c:pt idx="4">
                  <c:v>COMPANY 5</c:v>
                </c:pt>
                <c:pt idx="5">
                  <c:v>COMPANY 6</c:v>
                </c:pt>
                <c:pt idx="6">
                  <c:v>COMPANY 7</c:v>
                </c:pt>
                <c:pt idx="7">
                  <c:v>COMPANY 8</c:v>
                </c:pt>
                <c:pt idx="8">
                  <c:v>COMPANY 9</c:v>
                </c:pt>
                <c:pt idx="9">
                  <c:v>COMPANY 10</c:v>
                </c:pt>
              </c:strCache>
            </c:strRef>
          </c:cat>
          <c:val>
            <c:numRef>
              <c:f>Sheet1!$E$2:$E$11</c:f>
              <c:numCache>
                <c:formatCode>_(* #,##0_);_(* \(#,##0\);_(* "-"??_);_(@_)</c:formatCode>
                <c:ptCount val="10"/>
                <c:pt idx="0">
                  <c:v>25</c:v>
                </c:pt>
                <c:pt idx="1">
                  <c:v>18</c:v>
                </c:pt>
                <c:pt idx="2">
                  <c:v>31</c:v>
                </c:pt>
                <c:pt idx="3">
                  <c:v>24</c:v>
                </c:pt>
                <c:pt idx="4">
                  <c:v>15</c:v>
                </c:pt>
                <c:pt idx="5">
                  <c:v>37</c:v>
                </c:pt>
                <c:pt idx="6">
                  <c:v>25</c:v>
                </c:pt>
                <c:pt idx="7">
                  <c:v>29</c:v>
                </c:pt>
                <c:pt idx="8">
                  <c:v>18</c:v>
                </c:pt>
                <c:pt idx="9">
                  <c:v>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FCE-4AD1-B36C-0E0F3B6D8D9B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99"/>
        <c:axId val="381272424"/>
        <c:axId val="381276736"/>
      </c:barChart>
      <c:catAx>
        <c:axId val="3812724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pPr>
            <a:endParaRPr lang="en-US"/>
          </a:p>
        </c:txPr>
        <c:crossAx val="381276736"/>
        <c:crosses val="autoZero"/>
        <c:auto val="1"/>
        <c:lblAlgn val="ctr"/>
        <c:lblOffset val="100"/>
        <c:noMultiLvlLbl val="0"/>
      </c:catAx>
      <c:valAx>
        <c:axId val="3812767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812724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4230344459800161E-2"/>
          <c:y val="1.8852653333296148E-2"/>
          <c:w val="0.95645196894339346"/>
          <c:h val="0.9105073504597698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+/- SEASONAL DAYS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BDFB-45E0-9CA9-9CCA43DA8F4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2</c:f>
              <c:strCache>
                <c:ptCount val="10"/>
                <c:pt idx="0">
                  <c:v>COMPANY 1</c:v>
                </c:pt>
                <c:pt idx="1">
                  <c:v>COMPANY 2</c:v>
                </c:pt>
                <c:pt idx="2">
                  <c:v>YOUR COMPANY</c:v>
                </c:pt>
                <c:pt idx="3">
                  <c:v>COMPANY 4</c:v>
                </c:pt>
                <c:pt idx="4">
                  <c:v>COMPANY 5</c:v>
                </c:pt>
                <c:pt idx="5">
                  <c:v>COMPANY 6</c:v>
                </c:pt>
                <c:pt idx="6">
                  <c:v>COMPANY 7</c:v>
                </c:pt>
                <c:pt idx="7">
                  <c:v>COMPANY 8</c:v>
                </c:pt>
                <c:pt idx="8">
                  <c:v>COMPANY 9</c:v>
                </c:pt>
                <c:pt idx="9">
                  <c:v>COMPANY 10</c:v>
                </c:pt>
              </c:strCache>
            </c:strRef>
          </c:cat>
          <c:val>
            <c:numRef>
              <c:f>Sheet1!$B$2:$B$12</c:f>
              <c:numCache>
                <c:formatCode>_(* #,##0.0_);_(* \(#,##0.0\);_(* "-"??_);_(@_)</c:formatCode>
                <c:ptCount val="11"/>
                <c:pt idx="0">
                  <c:v>2</c:v>
                </c:pt>
                <c:pt idx="1">
                  <c:v>0</c:v>
                </c:pt>
                <c:pt idx="2">
                  <c:v>1</c:v>
                </c:pt>
                <c:pt idx="3">
                  <c:v>2</c:v>
                </c:pt>
                <c:pt idx="4">
                  <c:v>0</c:v>
                </c:pt>
                <c:pt idx="5">
                  <c:v>-2</c:v>
                </c:pt>
                <c:pt idx="6">
                  <c:v>0</c:v>
                </c:pt>
                <c:pt idx="7">
                  <c:v>-1</c:v>
                </c:pt>
                <c:pt idx="8">
                  <c:v>3</c:v>
                </c:pt>
                <c:pt idx="9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DFB-45E0-9CA9-9CCA43DA8F4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UTAWAY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2</c:f>
              <c:strCache>
                <c:ptCount val="10"/>
                <c:pt idx="0">
                  <c:v>COMPANY 1</c:v>
                </c:pt>
                <c:pt idx="1">
                  <c:v>COMPANY 2</c:v>
                </c:pt>
                <c:pt idx="2">
                  <c:v>YOUR COMPANY</c:v>
                </c:pt>
                <c:pt idx="3">
                  <c:v>COMPANY 4</c:v>
                </c:pt>
                <c:pt idx="4">
                  <c:v>COMPANY 5</c:v>
                </c:pt>
                <c:pt idx="5">
                  <c:v>COMPANY 6</c:v>
                </c:pt>
                <c:pt idx="6">
                  <c:v>COMPANY 7</c:v>
                </c:pt>
                <c:pt idx="7">
                  <c:v>COMPANY 8</c:v>
                </c:pt>
                <c:pt idx="8">
                  <c:v>COMPANY 9</c:v>
                </c:pt>
                <c:pt idx="9">
                  <c:v>COMPANY 10</c:v>
                </c:pt>
              </c:strCache>
            </c:strRef>
          </c:cat>
          <c:val>
            <c:numRef>
              <c:f>Sheet1!$C$2:$C$12</c:f>
              <c:numCache>
                <c:formatCode>_(* #,##0.0_);_(* \(#,##0.0\);_(* "-"??_);_(@_)</c:formatCode>
                <c:ptCount val="11"/>
                <c:pt idx="0">
                  <c:v>0.5</c:v>
                </c:pt>
                <c:pt idx="1">
                  <c:v>1</c:v>
                </c:pt>
                <c:pt idx="2">
                  <c:v>1.7</c:v>
                </c:pt>
                <c:pt idx="3">
                  <c:v>0.3</c:v>
                </c:pt>
                <c:pt idx="4">
                  <c:v>0.7</c:v>
                </c:pt>
                <c:pt idx="5">
                  <c:v>1.4</c:v>
                </c:pt>
                <c:pt idx="6">
                  <c:v>0.4</c:v>
                </c:pt>
                <c:pt idx="7">
                  <c:v>2.1</c:v>
                </c:pt>
                <c:pt idx="8">
                  <c:v>1.5</c:v>
                </c:pt>
                <c:pt idx="9">
                  <c:v>0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BDFB-45E0-9CA9-9CCA43DA8F4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UPPLIER PERFORMANCE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0"/>
                <c:pt idx="0">
                  <c:v>COMPANY 1</c:v>
                </c:pt>
                <c:pt idx="1">
                  <c:v>COMPANY 2</c:v>
                </c:pt>
                <c:pt idx="2">
                  <c:v>YOUR COMPANY</c:v>
                </c:pt>
                <c:pt idx="3">
                  <c:v>COMPANY 4</c:v>
                </c:pt>
                <c:pt idx="4">
                  <c:v>COMPANY 5</c:v>
                </c:pt>
                <c:pt idx="5">
                  <c:v>COMPANY 6</c:v>
                </c:pt>
                <c:pt idx="6">
                  <c:v>COMPANY 7</c:v>
                </c:pt>
                <c:pt idx="7">
                  <c:v>COMPANY 8</c:v>
                </c:pt>
                <c:pt idx="8">
                  <c:v>COMPANY 9</c:v>
                </c:pt>
                <c:pt idx="9">
                  <c:v>COMPANY 10</c:v>
                </c:pt>
              </c:strCache>
            </c:strRef>
          </c:cat>
          <c:val>
            <c:numRef>
              <c:f>Sheet1!$D$2:$D$12</c:f>
              <c:numCache>
                <c:formatCode>0%</c:formatCode>
                <c:ptCount val="11"/>
                <c:pt idx="0">
                  <c:v>0.95</c:v>
                </c:pt>
                <c:pt idx="1">
                  <c:v>0.89</c:v>
                </c:pt>
                <c:pt idx="2">
                  <c:v>0.92</c:v>
                </c:pt>
                <c:pt idx="3">
                  <c:v>0.86</c:v>
                </c:pt>
                <c:pt idx="4">
                  <c:v>0.96</c:v>
                </c:pt>
                <c:pt idx="5">
                  <c:v>0.82</c:v>
                </c:pt>
                <c:pt idx="6">
                  <c:v>0.89</c:v>
                </c:pt>
                <c:pt idx="7">
                  <c:v>0.93</c:v>
                </c:pt>
                <c:pt idx="8">
                  <c:v>0.85</c:v>
                </c:pt>
                <c:pt idx="9">
                  <c:v>0.97</c:v>
                </c:pt>
                <c:pt idx="1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FCE-4AD1-B36C-0E0F3B6D8D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9"/>
        <c:axId val="381272424"/>
        <c:axId val="381276736"/>
      </c:barChart>
      <c:catAx>
        <c:axId val="3812724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81276736"/>
        <c:crosses val="autoZero"/>
        <c:auto val="1"/>
        <c:lblAlgn val="ctr"/>
        <c:lblOffset val="100"/>
        <c:noMultiLvlLbl val="0"/>
      </c:catAx>
      <c:valAx>
        <c:axId val="381276736"/>
        <c:scaling>
          <c:orientation val="minMax"/>
          <c:max val="3"/>
          <c:min val="-2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.0_);_(* \(#,##0.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812724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44B30B3-A86C-4C3D-BEF8-0ECEAD87677A}" type="datetimeFigureOut">
              <a:rPr lang="en-US" smtClean="0"/>
              <a:t>12/12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2B36F87-0228-4D42-9BB3-42248F97EB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08896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campaign_creators?utm_source=unsplash&amp;utm_medium=referral&amp;utm_content=creditCopyText" TargetMode="External"/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budget?utm_source=unsplash&amp;utm_medium=referral&amp;utm_content=creditCopyText" TargetMode="Externa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campaign_creators?utm_source=unsplash&amp;utm_medium=referral&amp;utm_content=creditCopyText" TargetMode="External"/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budget?utm_source=unsplash&amp;utm_medium=referral&amp;utm_content=creditCopyText" TargetMode="Externa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Campaign 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Creators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CE837E-594B-4F0F-92F5-F20D4296AC5C}" type="slidenum">
              <a:rPr kumimoji="0" lang="en-ID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ID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640056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F9BCC4A-574B-B209-86F0-77B15CC31D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E44A9F9-7C84-2B07-29F7-870BB2701A6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BFE0F88-58B8-ECA5-0C3B-DF989106F03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Campaign 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Creators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DE7E4AC-36E2-49BE-0CDF-CE5A15D717E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CE837E-594B-4F0F-92F5-F20D4296AC5C}" type="slidenum">
              <a:rPr kumimoji="0" lang="en-ID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ID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474667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0F2944-CD9C-4FB5-A0C7-621A87A14CB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51A7A3C-8298-4925-A0A3-9F70AC2E34D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422B87-6FB9-4F87-9810-35B6946406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802500-2DCA-4720-8360-6E74C26DD0EA}" type="datetimeFigureOut">
              <a:rPr lang="en-US" smtClean="0"/>
              <a:t>12/1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8218847-C315-4C55-BAC6-03A1AA4912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EEFE00-2D12-4406-A95C-1BF14567BE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672E3D-61E0-450A-AD62-EE98E48601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17330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5FA138-C7C0-4413-ADD4-F97B1AEF9F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5A27381-0812-4282-8564-A4BB14CD61F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53149AF-F275-4D23-B3CA-B1F5895761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802500-2DCA-4720-8360-6E74C26DD0EA}" type="datetimeFigureOut">
              <a:rPr lang="en-US" smtClean="0"/>
              <a:t>12/1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A2FD026-52B4-4CAC-B30F-7A45316ACC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0C3BAD2-6024-4D9A-B7BC-8FA7298030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672E3D-61E0-450A-AD62-EE98E48601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712264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7530284-B27F-4104-B5B1-05A5071F18D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E710ED5-CAA1-40F1-AB4B-E2FD57040BB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932BB4D-9461-468D-9E3E-B158058EA3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802500-2DCA-4720-8360-6E74C26DD0EA}" type="datetimeFigureOut">
              <a:rPr lang="en-US" smtClean="0"/>
              <a:t>12/1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90E6E61-3A80-477F-AFA0-95EDACEDFB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B63A61A-93A7-448A-8C7F-A54957DC3F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672E3D-61E0-450A-AD62-EE98E48601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96140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962DCA-0379-43B6-A864-F6C5C4F9D04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53E1EE2-F861-47CA-BA28-35C22E492C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719A655-64D0-47F9-8317-D52DE29AEDB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0AAB9BE-E82E-4381-A46E-97E3FD27CE4D}" type="datetimeFigureOut">
              <a:rPr lang="en-US" smtClean="0"/>
              <a:t>12/12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CDE9ACC-9EF4-43BD-BBE2-00553CD05A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46B33F-F00C-441E-AE12-D029DAEF44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1B912B-A057-4577-A722-02FC9AD7D3C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698565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5B9573-93A2-4C0A-83A5-DB9016E05B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9914816-5E9E-4EBD-B44F-1895D9DAD95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5F967AF-93E1-4CBE-9D44-5135B0756F9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0AAB9BE-E82E-4381-A46E-97E3FD27CE4D}" type="datetimeFigureOut">
              <a:rPr lang="en-US" smtClean="0"/>
              <a:t>12/12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10B5625-5009-45E9-B0E3-4D6AE47C82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DE5219F-F068-4A32-A5A2-3329E64550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1B912B-A057-4577-A722-02FC9AD7D3C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666793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FAD872-2CA8-4BFB-800D-A664707787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01744C-563D-46C9-8E0F-9425B187AAC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2268AD3-259B-4B31-B046-E9B77845CF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0AAB9BE-E82E-4381-A46E-97E3FD27CE4D}" type="datetimeFigureOut">
              <a:rPr lang="en-US" smtClean="0"/>
              <a:t>12/12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E074B9C-DC11-4888-9C87-64EB9E7172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183F2A-A85E-41D4-85C5-C7905A41FB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1B912B-A057-4577-A722-02FC9AD7D3C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880089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049220-EDD3-4EC8-AC79-E4CAC97479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12A6ADC-926B-4D07-80F2-9B35EB3D7D5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57F80ED-471A-4397-90EF-DB403AF2F47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C13492D-779F-41D5-93D2-A98D5A6CA5B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0AAB9BE-E82E-4381-A46E-97E3FD27CE4D}" type="datetimeFigureOut">
              <a:rPr lang="en-US" smtClean="0"/>
              <a:t>12/12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ABFDC71-0D1C-458B-8A23-41955A47D8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32746CE-ADE1-432F-97AB-675E8E491B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1B912B-A057-4577-A722-02FC9AD7D3C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405018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4BB397-012D-4804-8EEA-FDA952A3B4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552FA10-E0BD-44D0-9FCE-FA2CF93055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D8EE7FD-F1C1-4212-AA97-CE971676CE8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52DB20A-10C2-4CB0-A997-9D5235EB4E8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C316EEF-DAD7-4263-9D4C-391B7C48B1E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411CADF-FD3D-4947-9239-24837CB8412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0AAB9BE-E82E-4381-A46E-97E3FD27CE4D}" type="datetimeFigureOut">
              <a:rPr lang="en-US" smtClean="0"/>
              <a:t>12/12/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30964FA-91E4-4CE5-B46A-FA994D4855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8254352-F8F6-4CA1-A0BA-52837CE3FC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1B912B-A057-4577-A722-02FC9AD7D3C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584803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1E81E1-6AB2-402E-819F-62EC700DE6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B239605-0165-4CB8-831F-86B8055BE22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0AAB9BE-E82E-4381-A46E-97E3FD27CE4D}" type="datetimeFigureOut">
              <a:rPr lang="en-US" smtClean="0"/>
              <a:t>12/12/2024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278BCEA-1D2F-4945-A31A-CAC5F2F8A0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8CBDDB7-5DF6-471D-AEF8-EC76DF8CFE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1B912B-A057-4577-A722-02FC9AD7D3C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742338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3E8644C-3E84-4A06-8416-955175CF43D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0AAB9BE-E82E-4381-A46E-97E3FD27CE4D}" type="datetimeFigureOut">
              <a:rPr lang="en-US" smtClean="0"/>
              <a:t>12/12/2024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EF83580-5CE1-4014-B32D-F6FFCC906C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AAF76CE-CFCB-46C1-AB01-B403560524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1B912B-A057-4577-A722-02FC9AD7D3C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15514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7147F2-F8D2-46CB-AAD8-E11665A977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B6DF084-0222-479B-A901-D722BAA0BB3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55AA15A-DB42-4399-823E-423910C10AC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C1A3D8F-1D45-46C4-B422-05E334103FF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0AAB9BE-E82E-4381-A46E-97E3FD27CE4D}" type="datetimeFigureOut">
              <a:rPr lang="en-US" smtClean="0"/>
              <a:t>12/12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1715FA0-7E43-419E-BB80-AFD70A9363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536D5B3-B724-427D-9CF4-0337243DC4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1B912B-A057-4577-A722-02FC9AD7D3C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307060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AB1366-174D-45EC-BD88-F980D865B4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50D19A8-AEB8-482D-8F13-BD953F276B7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1814B90-F6E9-4D26-BF69-ADB349AE3A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802500-2DCA-4720-8360-6E74C26DD0EA}" type="datetimeFigureOut">
              <a:rPr lang="en-US" smtClean="0"/>
              <a:t>12/1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14A9DAD-013C-4027-AC7F-A2AAAA2B58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96D2A19-F4FC-464C-A55F-C1F1EC14C8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672E3D-61E0-450A-AD62-EE98E48601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250085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17ABBE-B1B6-4309-9769-4161E65D1C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D799590-498E-4ADD-B687-AA080FA8C3C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B4C4A7A-4EEF-4974-B4FB-8082D8008B5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DB3279D-9750-4891-B30F-48DF4F322FC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0AAB9BE-E82E-4381-A46E-97E3FD27CE4D}" type="datetimeFigureOut">
              <a:rPr lang="en-US" smtClean="0"/>
              <a:t>12/12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AE2A7CC-CB6D-4DDD-9096-F807E45EC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AAD6E30-AB29-426B-9705-C98B99505D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1B912B-A057-4577-A722-02FC9AD7D3C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048934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A14247-533A-4CDC-BCB2-FBBBB23EF4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B783BCA-E29B-43B1-A3EF-F5B30AFDBB2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4189E6A-0EA1-4474-8671-B642B4BF16E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0AAB9BE-E82E-4381-A46E-97E3FD27CE4D}" type="datetimeFigureOut">
              <a:rPr lang="en-US" smtClean="0"/>
              <a:t>12/12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60B6340-B24A-40BD-A17A-C2C2AD1F98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4751813-C391-4404-A249-6BDB521041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1B912B-A057-4577-A722-02FC9AD7D3C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850805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C2C6831-F810-4517-988E-305083F48EF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AF5F41C-65A4-4480-B856-504428118C8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74FB8E9-B64B-401A-8BC4-7D26EBDE081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0AAB9BE-E82E-4381-A46E-97E3FD27CE4D}" type="datetimeFigureOut">
              <a:rPr lang="en-US" smtClean="0"/>
              <a:t>12/12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DF8A006-221A-4DA1-9387-63C0FB2B53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AFE6AF-3D7B-4579-9D5D-EF87F65A82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1B912B-A057-4577-A722-02FC9AD7D3C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45817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711DF1-25B7-4BD8-9F8B-54F33DD593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553E3BE-DCBE-4CC8-AE86-9E96D746A5B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9844162-8E49-40DF-8692-8FB349E90E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802500-2DCA-4720-8360-6E74C26DD0EA}" type="datetimeFigureOut">
              <a:rPr lang="en-US" smtClean="0"/>
              <a:t>12/1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372F110-54AD-4733-B2C4-4579563723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DAD72D-AD80-4370-83B6-7D021E164C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672E3D-61E0-450A-AD62-EE98E48601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67795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16F4D9-B1D4-4FA8-BE90-C9A41B6A3F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3CD55B0-8F63-4EEF-B0E7-7C75A1174A8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9780715-75E6-47D3-BEF2-8A624C5BE2A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BBF89AE-869E-4E2D-9588-8AF3590B47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802500-2DCA-4720-8360-6E74C26DD0EA}" type="datetimeFigureOut">
              <a:rPr lang="en-US" smtClean="0"/>
              <a:t>12/12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EA3D75F-B6D6-4039-B62C-329B91C6F1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7270461-BA24-499A-B94A-19E31A6D8E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672E3D-61E0-450A-AD62-EE98E48601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33594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811B67-6486-48A8-B9C6-7BE28C9326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F535E5-85A8-43D5-85D9-1403528DC67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1A23761-ACD7-49EC-8C79-547A8B8575E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FA70B13-9F25-4D7F-A6D3-97F952DD511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E145D64-1B69-4E69-B93F-B23272660D7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D99291D-DFEF-4309-A378-1A60B9DFD0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802500-2DCA-4720-8360-6E74C26DD0EA}" type="datetimeFigureOut">
              <a:rPr lang="en-US" smtClean="0"/>
              <a:t>12/12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1E80C2C-58F2-4673-9183-A499A392E6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C61F43F-0C1C-49FF-B2D8-DD903388BF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672E3D-61E0-450A-AD62-EE98E48601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718431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3F368A-4E93-4D7F-9029-6B4A8596CE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0D54615-DDA5-41AB-8C27-2188BD72BC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802500-2DCA-4720-8360-6E74C26DD0EA}" type="datetimeFigureOut">
              <a:rPr lang="en-US" smtClean="0"/>
              <a:t>12/12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6AD342C-DAB3-4157-B778-EFC95EE20E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E35F55A-9201-488E-AD35-FB37F93A8B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672E3D-61E0-450A-AD62-EE98E48601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097844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0F5EE7F-3DBB-469C-8B64-5324DB38E2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802500-2DCA-4720-8360-6E74C26DD0EA}" type="datetimeFigureOut">
              <a:rPr lang="en-US" smtClean="0"/>
              <a:t>12/12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0489D70-E202-4768-9202-B93B4CC2DA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BB20AB1-86F0-4A4D-AB07-3A153ECF46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672E3D-61E0-450A-AD62-EE98E48601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61839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62C2A4-9622-47DC-9B00-882CFED8CC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507FE0-67C3-4BD1-A829-F9EDDCA9850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B067AA2-DB24-4F1F-AC5D-904E0CCE610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715683E-49FA-4718-BA99-F90E7215A0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802500-2DCA-4720-8360-6E74C26DD0EA}" type="datetimeFigureOut">
              <a:rPr lang="en-US" smtClean="0"/>
              <a:t>12/12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090B357-5E8C-4950-A575-B1C527F2C6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BDE7806-9CDA-4464-8F4B-BAE85BA56D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672E3D-61E0-450A-AD62-EE98E48601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736185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47DB20-43E3-4E51-A101-622596DD46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5FA13BB-A760-4669-9B11-D15A7BDB89E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45D4BBC-2FD9-4B8A-88B0-35CB3581A2E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E4F2F8-80FD-42A4-B42B-C3D3DCE821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802500-2DCA-4720-8360-6E74C26DD0EA}" type="datetimeFigureOut">
              <a:rPr lang="en-US" smtClean="0"/>
              <a:t>12/12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D59931A-BE13-412E-A8D6-63FA3A2C87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387B004-9AA7-427F-B5A5-18E8541318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672E3D-61E0-450A-AD62-EE98E48601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30960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29CE782-4944-490A-912E-EB22A1E830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E161255-6D00-444E-BA2F-F1F8294C44D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F002255-5B30-4F80-A486-2667EAA52B4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3802500-2DCA-4720-8360-6E74C26DD0EA}" type="datetimeFigureOut">
              <a:rPr lang="en-US" smtClean="0"/>
              <a:t>12/1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0F56C37-A666-4386-93EC-C50FD9DF792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1D3D8C-70E5-4120-972F-7D4FAE9984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672E3D-61E0-450A-AD62-EE98E48601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23328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5DB1F55-A466-42C7-9ABD-ECD986F889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7BF859-57E7-4684-A05C-B4D7C35208F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653E5F7-76A1-4CEA-B622-A8FC2344E8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244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61B912B-A057-4577-A722-02FC9AD7D3C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25609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Bahnschrift" panose="020B0502040204020203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1.x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5.png"/><Relationship Id="rId7" Type="http://schemas.openxmlformats.org/officeDocument/2006/relationships/image" Target="../media/image17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Relationship Id="rId6" Type="http://schemas.microsoft.com/office/2007/relationships/hdphoto" Target="../media/hdphoto3.wdp"/><Relationship Id="rId5" Type="http://schemas.openxmlformats.org/officeDocument/2006/relationships/image" Target="../media/image16.png"/><Relationship Id="rId4" Type="http://schemas.microsoft.com/office/2007/relationships/hdphoto" Target="../media/hdphoto2.wdp"/><Relationship Id="rId9" Type="http://schemas.microsoft.com/office/2007/relationships/hdphoto" Target="../media/hdphoto4.wdp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jp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1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2.x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F8FCEAA-F11E-AB47-B2E6-220A21EF78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F8FCEAA-F11E-AB47-B2E6-220A21EF78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E2DCF600-FDF4-1F46-8A2B-E4B52256C86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9" r="889"/>
          <a:stretch/>
        </p:blipFill>
        <p:spPr>
          <a:xfrm>
            <a:off x="-1" y="0"/>
            <a:ext cx="12192002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DEA60672-6763-914C-93EE-1E4D67844CED}"/>
              </a:ext>
            </a:extLst>
          </p:cNvPr>
          <p:cNvSpPr/>
          <p:nvPr/>
        </p:nvSpPr>
        <p:spPr>
          <a:xfrm>
            <a:off x="533400" y="1524000"/>
            <a:ext cx="11658600" cy="4724400"/>
          </a:xfrm>
          <a:prstGeom prst="rect">
            <a:avLst/>
          </a:prstGeom>
          <a:gradFill>
            <a:gsLst>
              <a:gs pos="0">
                <a:schemeClr val="accent1">
                  <a:alpha val="82000"/>
                </a:schemeClr>
              </a:gs>
              <a:gs pos="100000">
                <a:schemeClr val="accent2">
                  <a:alpha val="73000"/>
                </a:scheme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3C116A6-A19B-D14A-8394-C311A9CA0486}"/>
              </a:ext>
            </a:extLst>
          </p:cNvPr>
          <p:cNvSpPr/>
          <p:nvPr/>
        </p:nvSpPr>
        <p:spPr>
          <a:xfrm>
            <a:off x="8285749" y="0"/>
            <a:ext cx="3372849" cy="6248400"/>
          </a:xfrm>
          <a:prstGeom prst="rect">
            <a:avLst/>
          </a:prstGeom>
          <a:gradFill>
            <a:gsLst>
              <a:gs pos="0">
                <a:schemeClr val="accent5"/>
              </a:gs>
              <a:gs pos="100000">
                <a:schemeClr val="accent4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B8B3C2E1-CA0D-5F44-BA52-F44C90B4501A}"/>
              </a:ext>
            </a:extLst>
          </p:cNvPr>
          <p:cNvSpPr txBox="1">
            <a:spLocks/>
          </p:cNvSpPr>
          <p:nvPr/>
        </p:nvSpPr>
        <p:spPr>
          <a:xfrm>
            <a:off x="863124" y="2465126"/>
            <a:ext cx="7004393" cy="182819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hnschrift" panose="020B0502040204020203" pitchFamily="34" charset="0"/>
                <a:ea typeface="+mj-ea"/>
                <a:cs typeface="Segoe UI" panose="020B0502040204020203" pitchFamily="34" charset="0"/>
              </a:rPr>
              <a:t>P4 Inventory</a:t>
            </a:r>
            <a:endParaRPr kumimoji="0" lang="en-US" sz="6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ahnschrift" panose="020B0502040204020203" pitchFamily="34" charset="0"/>
              <a:ea typeface="+mj-ea"/>
              <a:cs typeface="Segoe UI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hnschrift" panose="020B0502040204020203" pitchFamily="34" charset="0"/>
                <a:ea typeface="+mj-ea"/>
                <a:cs typeface="Segoe UI" panose="020B0502040204020203" pitchFamily="34" charset="0"/>
              </a:rPr>
              <a:t>BENCHMARKING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5E94025-342B-B741-955E-07FDECD57EFF}"/>
              </a:ext>
            </a:extLst>
          </p:cNvPr>
          <p:cNvCxnSpPr>
            <a:cxnSpLocks/>
          </p:cNvCxnSpPr>
          <p:nvPr/>
        </p:nvCxnSpPr>
        <p:spPr>
          <a:xfrm>
            <a:off x="1935083" y="4641106"/>
            <a:ext cx="376987" cy="0"/>
          </a:xfrm>
          <a:prstGeom prst="line">
            <a:avLst/>
          </a:prstGeom>
          <a:ln w="50800" cap="rnd">
            <a:solidFill>
              <a:schemeClr val="accent4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9503493B-6833-FA45-9501-6CFD96271BBD}"/>
              </a:ext>
            </a:extLst>
          </p:cNvPr>
          <p:cNvCxnSpPr>
            <a:cxnSpLocks/>
          </p:cNvCxnSpPr>
          <p:nvPr/>
        </p:nvCxnSpPr>
        <p:spPr>
          <a:xfrm>
            <a:off x="11658600" y="4641106"/>
            <a:ext cx="5334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64E2FD8C-4054-064B-A75F-D6BCA5A0572C}"/>
              </a:ext>
            </a:extLst>
          </p:cNvPr>
          <p:cNvCxnSpPr>
            <a:cxnSpLocks/>
          </p:cNvCxnSpPr>
          <p:nvPr/>
        </p:nvCxnSpPr>
        <p:spPr>
          <a:xfrm>
            <a:off x="2641228" y="4641106"/>
            <a:ext cx="5644521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>
            <a:extLst>
              <a:ext uri="{FF2B5EF4-FFF2-40B4-BE49-F238E27FC236}">
                <a16:creationId xmlns:a16="http://schemas.microsoft.com/office/drawing/2014/main" id="{D73BDF7F-5CA7-E4E6-97CE-BB9C584F02E3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93054" y="3833161"/>
            <a:ext cx="1219652" cy="1222562"/>
          </a:xfrm>
          <a:prstGeom prst="rect">
            <a:avLst/>
          </a:prstGeom>
          <a:effectLst>
            <a:outerShdw blurRad="787400" dist="114300" dir="7980000" sx="119000" sy="119000" algn="ctr" rotWithShape="0">
              <a:schemeClr val="bg1"/>
            </a:outerShdw>
          </a:effectLst>
        </p:spPr>
      </p:pic>
    </p:spTree>
    <p:extLst>
      <p:ext uri="{BB962C8B-B14F-4D97-AF65-F5344CB8AC3E}">
        <p14:creationId xmlns:p14="http://schemas.microsoft.com/office/powerpoint/2010/main" val="221777404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312A073-2E64-4525-A8A1-0172760C1973}"/>
              </a:ext>
            </a:extLst>
          </p:cNvPr>
          <p:cNvSpPr/>
          <p:nvPr/>
        </p:nvSpPr>
        <p:spPr>
          <a:xfrm>
            <a:off x="0" y="1905712"/>
            <a:ext cx="12103694" cy="380287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2072424-5D56-4214-9B0E-115C1E9D580C}"/>
              </a:ext>
            </a:extLst>
          </p:cNvPr>
          <p:cNvSpPr/>
          <p:nvPr/>
        </p:nvSpPr>
        <p:spPr>
          <a:xfrm>
            <a:off x="1166948" y="6448197"/>
            <a:ext cx="10013044" cy="181203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A4CCC08-A329-477A-B80B-2665F19C7039}"/>
              </a:ext>
            </a:extLst>
          </p:cNvPr>
          <p:cNvSpPr/>
          <p:nvPr/>
        </p:nvSpPr>
        <p:spPr>
          <a:xfrm>
            <a:off x="11267076" y="6448197"/>
            <a:ext cx="924923" cy="18120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67" name="Chart 66">
            <a:extLst>
              <a:ext uri="{FF2B5EF4-FFF2-40B4-BE49-F238E27FC236}">
                <a16:creationId xmlns:a16="http://schemas.microsoft.com/office/drawing/2014/main" id="{E4D9C660-107C-4AC7-916B-10D838F43C2C}"/>
              </a:ext>
            </a:extLst>
          </p:cNvPr>
          <p:cNvGraphicFramePr/>
          <p:nvPr/>
        </p:nvGraphicFramePr>
        <p:xfrm>
          <a:off x="88306" y="2040966"/>
          <a:ext cx="11764711" cy="35854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Oval 6">
            <a:extLst>
              <a:ext uri="{FF2B5EF4-FFF2-40B4-BE49-F238E27FC236}">
                <a16:creationId xmlns:a16="http://schemas.microsoft.com/office/drawing/2014/main" id="{F79B8CEC-F69E-4D64-98CF-8450FC7EBD5C}"/>
              </a:ext>
            </a:extLst>
          </p:cNvPr>
          <p:cNvSpPr/>
          <p:nvPr/>
        </p:nvSpPr>
        <p:spPr>
          <a:xfrm flipH="1">
            <a:off x="8491948" y="105237"/>
            <a:ext cx="287430" cy="287430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66A8FF45-3B64-42A3-BA6E-75DEDCB0DE0C}"/>
              </a:ext>
            </a:extLst>
          </p:cNvPr>
          <p:cNvSpPr txBox="1"/>
          <p:nvPr/>
        </p:nvSpPr>
        <p:spPr>
          <a:xfrm>
            <a:off x="8961119" y="125522"/>
            <a:ext cx="3230881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b="1" dirty="0">
                <a:solidFill>
                  <a:schemeClr val="accent1"/>
                </a:solidFill>
              </a:rPr>
              <a:t>% SEASONAL FORECAST ITEMS</a:t>
            </a:r>
          </a:p>
        </p:txBody>
      </p:sp>
      <p:sp>
        <p:nvSpPr>
          <p:cNvPr id="73" name="Oval 72">
            <a:extLst>
              <a:ext uri="{FF2B5EF4-FFF2-40B4-BE49-F238E27FC236}">
                <a16:creationId xmlns:a16="http://schemas.microsoft.com/office/drawing/2014/main" id="{41EB1968-BB5A-42F9-9703-6D5DEF87D625}"/>
              </a:ext>
            </a:extLst>
          </p:cNvPr>
          <p:cNvSpPr/>
          <p:nvPr/>
        </p:nvSpPr>
        <p:spPr>
          <a:xfrm flipH="1">
            <a:off x="8504059" y="581744"/>
            <a:ext cx="287430" cy="287430"/>
          </a:xfrm>
          <a:prstGeom prst="ellipse">
            <a:avLst/>
          </a:prstGeom>
          <a:solidFill>
            <a:srgbClr val="9BC41D"/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0F0E4B47-C0F6-4C18-8BB2-6ADF9C9B7502}"/>
              </a:ext>
            </a:extLst>
          </p:cNvPr>
          <p:cNvSpPr txBox="1"/>
          <p:nvPr/>
        </p:nvSpPr>
        <p:spPr>
          <a:xfrm>
            <a:off x="8961120" y="602348"/>
            <a:ext cx="25146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b="1" dirty="0">
                <a:solidFill>
                  <a:srgbClr val="9BC41D"/>
                </a:solidFill>
              </a:rPr>
              <a:t>% ITEMS FORECAST &lt; 5/</a:t>
            </a:r>
            <a:r>
              <a:rPr lang="en-US" sz="1100" b="1" dirty="0">
                <a:solidFill>
                  <a:srgbClr val="9BC41D"/>
                </a:solidFill>
              </a:rPr>
              <a:t>WK</a:t>
            </a:r>
            <a:endParaRPr lang="en-US" sz="1600" b="1" dirty="0">
              <a:solidFill>
                <a:srgbClr val="9BC41D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16D71225-67D9-4D2D-8C1D-31216784E68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899" y="5866267"/>
            <a:ext cx="830596" cy="855208"/>
          </a:xfrm>
          <a:prstGeom prst="rect">
            <a:avLst/>
          </a:prstGeom>
        </p:spPr>
      </p:pic>
      <p:sp>
        <p:nvSpPr>
          <p:cNvPr id="5" name="Oval 4">
            <a:extLst>
              <a:ext uri="{FF2B5EF4-FFF2-40B4-BE49-F238E27FC236}">
                <a16:creationId xmlns:a16="http://schemas.microsoft.com/office/drawing/2014/main" id="{888195FA-35CD-4B84-B1F1-7120C8DDAC33}"/>
              </a:ext>
            </a:extLst>
          </p:cNvPr>
          <p:cNvSpPr/>
          <p:nvPr/>
        </p:nvSpPr>
        <p:spPr>
          <a:xfrm flipH="1">
            <a:off x="8504059" y="1051282"/>
            <a:ext cx="287430" cy="28743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094A606-4043-4606-8F4C-6000CD0351C8}"/>
              </a:ext>
            </a:extLst>
          </p:cNvPr>
          <p:cNvSpPr txBox="1"/>
          <p:nvPr/>
        </p:nvSpPr>
        <p:spPr>
          <a:xfrm>
            <a:off x="8961120" y="1071886"/>
            <a:ext cx="25146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% NEW ITEM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CB14F40-B77E-46DA-94BB-CFC755A92BA1}"/>
              </a:ext>
            </a:extLst>
          </p:cNvPr>
          <p:cNvSpPr/>
          <p:nvPr/>
        </p:nvSpPr>
        <p:spPr>
          <a:xfrm>
            <a:off x="2811566" y="5426579"/>
            <a:ext cx="940037" cy="199877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BA87996-19CC-4E41-8B21-29F194ECAA23}"/>
              </a:ext>
            </a:extLst>
          </p:cNvPr>
          <p:cNvSpPr/>
          <p:nvPr/>
        </p:nvSpPr>
        <p:spPr>
          <a:xfrm>
            <a:off x="338984" y="0"/>
            <a:ext cx="1207805" cy="1577589"/>
          </a:xfrm>
          <a:prstGeom prst="rect">
            <a:avLst/>
          </a:prstGeom>
          <a:solidFill>
            <a:schemeClr val="accent5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F423B9D-D271-4F51-8328-230446D50578}"/>
              </a:ext>
            </a:extLst>
          </p:cNvPr>
          <p:cNvSpPr txBox="1"/>
          <p:nvPr/>
        </p:nvSpPr>
        <p:spPr>
          <a:xfrm>
            <a:off x="18815" y="86259"/>
            <a:ext cx="1848142" cy="123110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8000" dirty="0">
                <a:solidFill>
                  <a:schemeClr val="bg1"/>
                </a:solidFill>
                <a:latin typeface="Bahnschrift" panose="020B0502040204020203" pitchFamily="34" charset="0"/>
                <a:cs typeface="Segoe UI Semibold" panose="020B0702040204020203" pitchFamily="34" charset="0"/>
              </a:rPr>
              <a:t>B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E552D46-C9F4-4B5E-A740-E10F813B26C6}"/>
              </a:ext>
            </a:extLst>
          </p:cNvPr>
          <p:cNvSpPr txBox="1"/>
          <p:nvPr/>
        </p:nvSpPr>
        <p:spPr>
          <a:xfrm>
            <a:off x="180898" y="1313272"/>
            <a:ext cx="1528261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  <a:latin typeface="+mj-lt"/>
                <a:cs typeface="Segoe UI Semibold" panose="020B0702040204020203" pitchFamily="34" charset="0"/>
              </a:rPr>
              <a:t>BENCHMARK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C3298EB-D756-46CD-A31D-7F9311C4E71C}"/>
              </a:ext>
            </a:extLst>
          </p:cNvPr>
          <p:cNvSpPr txBox="1"/>
          <p:nvPr/>
        </p:nvSpPr>
        <p:spPr>
          <a:xfrm>
            <a:off x="1866957" y="261685"/>
            <a:ext cx="6221304" cy="61555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en-US" sz="4000" dirty="0">
                <a:solidFill>
                  <a:schemeClr val="tx1">
                    <a:lumMod val="65000"/>
                    <a:lumOff val="35000"/>
                  </a:schemeClr>
                </a:solidFill>
                <a:latin typeface="Bahnschrift" panose="020B0502040204020203" pitchFamily="34" charset="0"/>
                <a:cs typeface="Segoe UI Semibold" panose="020B0702040204020203" pitchFamily="34" charset="0"/>
              </a:rPr>
              <a:t>DEMAND</a:t>
            </a: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2211B203-0D2A-442B-9627-BFB8BEC5AC4A}"/>
              </a:ext>
            </a:extLst>
          </p:cNvPr>
          <p:cNvSpPr/>
          <p:nvPr/>
        </p:nvSpPr>
        <p:spPr>
          <a:xfrm flipH="1">
            <a:off x="8504059" y="1488799"/>
            <a:ext cx="287430" cy="28743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6F3FD11-864F-422B-B85C-8BC29B076945}"/>
              </a:ext>
            </a:extLst>
          </p:cNvPr>
          <p:cNvSpPr txBox="1"/>
          <p:nvPr/>
        </p:nvSpPr>
        <p:spPr>
          <a:xfrm>
            <a:off x="8961120" y="1509403"/>
            <a:ext cx="25146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% ON PROMOTION</a:t>
            </a:r>
          </a:p>
        </p:txBody>
      </p:sp>
    </p:spTree>
    <p:extLst>
      <p:ext uri="{BB962C8B-B14F-4D97-AF65-F5344CB8AC3E}">
        <p14:creationId xmlns:p14="http://schemas.microsoft.com/office/powerpoint/2010/main" val="399974865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312A073-2E64-4525-A8A1-0172760C1973}"/>
              </a:ext>
            </a:extLst>
          </p:cNvPr>
          <p:cNvSpPr/>
          <p:nvPr/>
        </p:nvSpPr>
        <p:spPr>
          <a:xfrm>
            <a:off x="0" y="1905712"/>
            <a:ext cx="12103694" cy="380287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2072424-5D56-4214-9B0E-115C1E9D580C}"/>
              </a:ext>
            </a:extLst>
          </p:cNvPr>
          <p:cNvSpPr/>
          <p:nvPr/>
        </p:nvSpPr>
        <p:spPr>
          <a:xfrm>
            <a:off x="1166948" y="6448197"/>
            <a:ext cx="10013044" cy="181203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A4CCC08-A329-477A-B80B-2665F19C7039}"/>
              </a:ext>
            </a:extLst>
          </p:cNvPr>
          <p:cNvSpPr/>
          <p:nvPr/>
        </p:nvSpPr>
        <p:spPr>
          <a:xfrm>
            <a:off x="11267076" y="6448197"/>
            <a:ext cx="924923" cy="18120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E1CD0E2-CC0D-499F-9749-4EA83170CC35}"/>
              </a:ext>
            </a:extLst>
          </p:cNvPr>
          <p:cNvSpPr txBox="1"/>
          <p:nvPr/>
        </p:nvSpPr>
        <p:spPr>
          <a:xfrm>
            <a:off x="2154342" y="429387"/>
            <a:ext cx="6158036" cy="73866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en-US" sz="4800" dirty="0">
                <a:solidFill>
                  <a:schemeClr val="tx1">
                    <a:lumMod val="65000"/>
                    <a:lumOff val="35000"/>
                  </a:schemeClr>
                </a:solidFill>
                <a:latin typeface="Bahnschrift" panose="020B0502040204020203" pitchFamily="34" charset="0"/>
                <a:cs typeface="Segoe UI Semibold" panose="020B0702040204020203" pitchFamily="34" charset="0"/>
              </a:rPr>
              <a:t>SKU COUNT</a:t>
            </a:r>
          </a:p>
        </p:txBody>
      </p:sp>
      <p:graphicFrame>
        <p:nvGraphicFramePr>
          <p:cNvPr id="67" name="Chart 66">
            <a:extLst>
              <a:ext uri="{FF2B5EF4-FFF2-40B4-BE49-F238E27FC236}">
                <a16:creationId xmlns:a16="http://schemas.microsoft.com/office/drawing/2014/main" id="{E4D9C660-107C-4AC7-916B-10D838F43C2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13113819"/>
              </p:ext>
            </p:extLst>
          </p:nvPr>
        </p:nvGraphicFramePr>
        <p:xfrm>
          <a:off x="88306" y="2040966"/>
          <a:ext cx="11764711" cy="35854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Oval 6">
            <a:extLst>
              <a:ext uri="{FF2B5EF4-FFF2-40B4-BE49-F238E27FC236}">
                <a16:creationId xmlns:a16="http://schemas.microsoft.com/office/drawing/2014/main" id="{F79B8CEC-F69E-4D64-98CF-8450FC7EBD5C}"/>
              </a:ext>
            </a:extLst>
          </p:cNvPr>
          <p:cNvSpPr/>
          <p:nvPr/>
        </p:nvSpPr>
        <p:spPr>
          <a:xfrm flipH="1">
            <a:off x="8501887" y="200875"/>
            <a:ext cx="287430" cy="287430"/>
          </a:xfrm>
          <a:prstGeom prst="ellipse">
            <a:avLst/>
          </a:prstGeom>
          <a:solidFill>
            <a:schemeClr val="tx1"/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66A8FF45-3B64-42A3-BA6E-75DEDCB0DE0C}"/>
              </a:ext>
            </a:extLst>
          </p:cNvPr>
          <p:cNvSpPr txBox="1"/>
          <p:nvPr/>
        </p:nvSpPr>
        <p:spPr>
          <a:xfrm>
            <a:off x="8971059" y="221160"/>
            <a:ext cx="25146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b="1" dirty="0">
                <a:latin typeface="Segoe UI" panose="020B0502040204020203" pitchFamily="34" charset="0"/>
                <a:cs typeface="Segoe UI" panose="020B0502040204020203" pitchFamily="34" charset="0"/>
              </a:rPr>
              <a:t># GROCERY</a:t>
            </a:r>
          </a:p>
        </p:txBody>
      </p:sp>
      <p:sp>
        <p:nvSpPr>
          <p:cNvPr id="73" name="Oval 72">
            <a:extLst>
              <a:ext uri="{FF2B5EF4-FFF2-40B4-BE49-F238E27FC236}">
                <a16:creationId xmlns:a16="http://schemas.microsoft.com/office/drawing/2014/main" id="{41EB1968-BB5A-42F9-9703-6D5DEF87D625}"/>
              </a:ext>
            </a:extLst>
          </p:cNvPr>
          <p:cNvSpPr/>
          <p:nvPr/>
        </p:nvSpPr>
        <p:spPr>
          <a:xfrm flipH="1">
            <a:off x="8494120" y="627687"/>
            <a:ext cx="287430" cy="287430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0F0E4B47-C0F6-4C18-8BB2-6ADF9C9B7502}"/>
              </a:ext>
            </a:extLst>
          </p:cNvPr>
          <p:cNvSpPr txBox="1"/>
          <p:nvPr/>
        </p:nvSpPr>
        <p:spPr>
          <a:xfrm>
            <a:off x="8951181" y="648291"/>
            <a:ext cx="25146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b="1" dirty="0">
                <a:solidFill>
                  <a:schemeClr val="accent4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# DAIRY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16D71225-67D9-4D2D-8C1D-31216784E68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899" y="5866267"/>
            <a:ext cx="830596" cy="855208"/>
          </a:xfrm>
          <a:prstGeom prst="rect">
            <a:avLst/>
          </a:prstGeom>
        </p:spPr>
      </p:pic>
      <p:sp>
        <p:nvSpPr>
          <p:cNvPr id="5" name="Oval 4">
            <a:extLst>
              <a:ext uri="{FF2B5EF4-FFF2-40B4-BE49-F238E27FC236}">
                <a16:creationId xmlns:a16="http://schemas.microsoft.com/office/drawing/2014/main" id="{32A4C235-BC2B-49C2-A2DD-08A872DB79CA}"/>
              </a:ext>
            </a:extLst>
          </p:cNvPr>
          <p:cNvSpPr/>
          <p:nvPr/>
        </p:nvSpPr>
        <p:spPr>
          <a:xfrm flipH="1">
            <a:off x="8493380" y="1101082"/>
            <a:ext cx="287430" cy="287430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10CDE42-A3E9-4ACD-9C64-91BB20366A59}"/>
              </a:ext>
            </a:extLst>
          </p:cNvPr>
          <p:cNvSpPr txBox="1"/>
          <p:nvPr/>
        </p:nvSpPr>
        <p:spPr>
          <a:xfrm>
            <a:off x="8962552" y="1121367"/>
            <a:ext cx="25146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# GEN MERCH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9C4122A2-F763-49C2-8A08-316C6329CACC}"/>
              </a:ext>
            </a:extLst>
          </p:cNvPr>
          <p:cNvSpPr/>
          <p:nvPr/>
        </p:nvSpPr>
        <p:spPr>
          <a:xfrm flipH="1">
            <a:off x="8505491" y="1577589"/>
            <a:ext cx="287430" cy="287430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F521EB7-6FF8-4BAB-9EFF-A144486BBF73}"/>
              </a:ext>
            </a:extLst>
          </p:cNvPr>
          <p:cNvSpPr txBox="1"/>
          <p:nvPr/>
        </p:nvSpPr>
        <p:spPr>
          <a:xfrm>
            <a:off x="8962552" y="1598193"/>
            <a:ext cx="25146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b="1" dirty="0">
                <a:solidFill>
                  <a:schemeClr val="accent5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# DAIRY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89E9CB8-5369-4A1C-AE81-B84993D99220}"/>
              </a:ext>
            </a:extLst>
          </p:cNvPr>
          <p:cNvSpPr/>
          <p:nvPr/>
        </p:nvSpPr>
        <p:spPr>
          <a:xfrm>
            <a:off x="338984" y="0"/>
            <a:ext cx="1207805" cy="1577589"/>
          </a:xfrm>
          <a:prstGeom prst="rect">
            <a:avLst/>
          </a:prstGeom>
          <a:solidFill>
            <a:schemeClr val="accent1">
              <a:lumMod val="75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4D2BB20-03A5-442A-8AA3-E7E57BB9EB9B}"/>
              </a:ext>
            </a:extLst>
          </p:cNvPr>
          <p:cNvSpPr txBox="1"/>
          <p:nvPr/>
        </p:nvSpPr>
        <p:spPr>
          <a:xfrm>
            <a:off x="18815" y="86259"/>
            <a:ext cx="1848142" cy="123110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80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hnschrift" panose="020B0502040204020203" pitchFamily="34" charset="0"/>
                <a:cs typeface="Segoe UI Semibold" panose="020B0702040204020203" pitchFamily="34" charset="0"/>
              </a:rPr>
              <a:t>B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2A11E1A-C3FF-465E-982B-F4747EAF1804}"/>
              </a:ext>
            </a:extLst>
          </p:cNvPr>
          <p:cNvSpPr txBox="1"/>
          <p:nvPr/>
        </p:nvSpPr>
        <p:spPr>
          <a:xfrm>
            <a:off x="180898" y="1313272"/>
            <a:ext cx="1528261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+mj-lt"/>
                <a:cs typeface="Segoe UI Semibold" panose="020B0702040204020203" pitchFamily="34" charset="0"/>
              </a:rPr>
              <a:t>BENCHMARK</a:t>
            </a:r>
          </a:p>
        </p:txBody>
      </p:sp>
    </p:spTree>
    <p:extLst>
      <p:ext uri="{BB962C8B-B14F-4D97-AF65-F5344CB8AC3E}">
        <p14:creationId xmlns:p14="http://schemas.microsoft.com/office/powerpoint/2010/main" val="178845573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2072424-5D56-4214-9B0E-115C1E9D580C}"/>
              </a:ext>
            </a:extLst>
          </p:cNvPr>
          <p:cNvSpPr/>
          <p:nvPr/>
        </p:nvSpPr>
        <p:spPr>
          <a:xfrm>
            <a:off x="1166948" y="6448197"/>
            <a:ext cx="10013044" cy="181203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A4CCC08-A329-477A-B80B-2665F19C7039}"/>
              </a:ext>
            </a:extLst>
          </p:cNvPr>
          <p:cNvSpPr/>
          <p:nvPr/>
        </p:nvSpPr>
        <p:spPr>
          <a:xfrm>
            <a:off x="11267076" y="6448197"/>
            <a:ext cx="924923" cy="18120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E1CD0E2-CC0D-499F-9749-4EA83170CC35}"/>
              </a:ext>
            </a:extLst>
          </p:cNvPr>
          <p:cNvSpPr txBox="1"/>
          <p:nvPr/>
        </p:nvSpPr>
        <p:spPr>
          <a:xfrm>
            <a:off x="1866956" y="261685"/>
            <a:ext cx="9986059" cy="61555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en-US" sz="4000" dirty="0">
                <a:solidFill>
                  <a:schemeClr val="tx1">
                    <a:lumMod val="65000"/>
                    <a:lumOff val="35000"/>
                  </a:schemeClr>
                </a:solidFill>
                <a:latin typeface="Bahnschrift" panose="020B0502040204020203" pitchFamily="34" charset="0"/>
                <a:cs typeface="Segoe UI Semibold" panose="020B0702040204020203" pitchFamily="34" charset="0"/>
              </a:rPr>
              <a:t>DEMAND FORECAST DEEP DIV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16D71225-67D9-4D2D-8C1D-31216784E68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899" y="5866267"/>
            <a:ext cx="830596" cy="855208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2C36EFCF-CC69-4718-B6A5-9B5EC6CF5709}"/>
              </a:ext>
            </a:extLst>
          </p:cNvPr>
          <p:cNvSpPr/>
          <p:nvPr/>
        </p:nvSpPr>
        <p:spPr>
          <a:xfrm>
            <a:off x="338984" y="0"/>
            <a:ext cx="1207805" cy="1577589"/>
          </a:xfrm>
          <a:prstGeom prst="rect">
            <a:avLst/>
          </a:prstGeom>
          <a:solidFill>
            <a:schemeClr val="accent1">
              <a:lumMod val="75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5AF8E94-6BF6-459C-BD07-D7BED0D8B5B2}"/>
              </a:ext>
            </a:extLst>
          </p:cNvPr>
          <p:cNvSpPr txBox="1"/>
          <p:nvPr/>
        </p:nvSpPr>
        <p:spPr>
          <a:xfrm>
            <a:off x="18815" y="86259"/>
            <a:ext cx="1848142" cy="123110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80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hnschrift" panose="020B0502040204020203" pitchFamily="34" charset="0"/>
                <a:cs typeface="Segoe UI Semibold" panose="020B0702040204020203" pitchFamily="34" charset="0"/>
              </a:rPr>
              <a:t>A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841FF94-D83A-465E-88F7-E453782D8FD4}"/>
              </a:ext>
            </a:extLst>
          </p:cNvPr>
          <p:cNvSpPr txBox="1"/>
          <p:nvPr/>
        </p:nvSpPr>
        <p:spPr>
          <a:xfrm>
            <a:off x="180898" y="1313272"/>
            <a:ext cx="1528261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+mj-lt"/>
                <a:cs typeface="Segoe UI Semibold" panose="020B0702040204020203" pitchFamily="34" charset="0"/>
              </a:rPr>
              <a:t>ANALYTICS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5206CB66-700D-4FD0-8CC2-002973C6158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02830" y="2925697"/>
            <a:ext cx="10674442" cy="1549889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6EDC85D1-4CD2-44C9-B3F8-D3A8D26FBBD2}"/>
              </a:ext>
            </a:extLst>
          </p:cNvPr>
          <p:cNvSpPr/>
          <p:nvPr/>
        </p:nvSpPr>
        <p:spPr>
          <a:xfrm>
            <a:off x="3851395" y="3032714"/>
            <a:ext cx="1138148" cy="5523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38B37731-675F-400D-8EDC-12E8FF92956E}"/>
              </a:ext>
            </a:extLst>
          </p:cNvPr>
          <p:cNvSpPr txBox="1"/>
          <p:nvPr/>
        </p:nvSpPr>
        <p:spPr>
          <a:xfrm>
            <a:off x="3870301" y="3056234"/>
            <a:ext cx="1157986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50" b="1" dirty="0">
                <a:solidFill>
                  <a:schemeClr val="accent1">
                    <a:lumMod val="75000"/>
                  </a:schemeClr>
                </a:solidFill>
              </a:rPr>
              <a:t>TOP 200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8DA4FFAC-8E1B-499E-AB20-A0751C5675B7}"/>
              </a:ext>
            </a:extLst>
          </p:cNvPr>
          <p:cNvSpPr txBox="1"/>
          <p:nvPr/>
        </p:nvSpPr>
        <p:spPr>
          <a:xfrm>
            <a:off x="3882391" y="3240900"/>
            <a:ext cx="1100593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400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+0.7</a:t>
            </a:r>
            <a:r>
              <a:rPr lang="en-US" sz="1600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%</a:t>
            </a:r>
            <a:endParaRPr lang="en-US" sz="2400" dirty="0">
              <a:solidFill>
                <a:schemeClr val="bg1">
                  <a:lumMod val="50000"/>
                </a:schemeClr>
              </a:solidFill>
              <a:latin typeface="Bahnschrift" panose="020B0502040204020203" pitchFamily="34" charset="0"/>
              <a:cs typeface="Calibri" panose="020F0502020204030204" pitchFamily="34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18FB96F7-599E-4254-9387-8AB370810A5B}"/>
              </a:ext>
            </a:extLst>
          </p:cNvPr>
          <p:cNvSpPr/>
          <p:nvPr/>
        </p:nvSpPr>
        <p:spPr>
          <a:xfrm>
            <a:off x="5200746" y="3036567"/>
            <a:ext cx="1138148" cy="5523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CB629C5-B81E-43B4-822E-2D70526A5A20}"/>
              </a:ext>
            </a:extLst>
          </p:cNvPr>
          <p:cNvSpPr txBox="1"/>
          <p:nvPr/>
        </p:nvSpPr>
        <p:spPr>
          <a:xfrm>
            <a:off x="5219652" y="3060087"/>
            <a:ext cx="1157986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50" b="1" dirty="0">
                <a:solidFill>
                  <a:schemeClr val="accent1">
                    <a:lumMod val="75000"/>
                  </a:schemeClr>
                </a:solidFill>
              </a:rPr>
              <a:t>NEW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4EE445D1-C6F9-4CE9-A7C6-478D16008BFF}"/>
              </a:ext>
            </a:extLst>
          </p:cNvPr>
          <p:cNvSpPr txBox="1"/>
          <p:nvPr/>
        </p:nvSpPr>
        <p:spPr>
          <a:xfrm>
            <a:off x="5231742" y="3244753"/>
            <a:ext cx="1100593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400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-23.5</a:t>
            </a:r>
            <a:r>
              <a:rPr lang="en-US" sz="1600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%</a:t>
            </a:r>
            <a:endParaRPr lang="en-US" sz="2400" dirty="0">
              <a:solidFill>
                <a:schemeClr val="bg1">
                  <a:lumMod val="50000"/>
                </a:schemeClr>
              </a:solidFill>
              <a:latin typeface="Bahnschrift" panose="020B0502040204020203" pitchFamily="34" charset="0"/>
              <a:cs typeface="Calibri" panose="020F0502020204030204" pitchFamily="34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A0B06674-EE42-4C6D-ABF3-3FE45E6B97A2}"/>
              </a:ext>
            </a:extLst>
          </p:cNvPr>
          <p:cNvSpPr/>
          <p:nvPr/>
        </p:nvSpPr>
        <p:spPr>
          <a:xfrm>
            <a:off x="6519621" y="3037611"/>
            <a:ext cx="1138148" cy="5523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B131261A-9F88-466A-ABCA-DE44A5A8C626}"/>
              </a:ext>
            </a:extLst>
          </p:cNvPr>
          <p:cNvSpPr txBox="1"/>
          <p:nvPr/>
        </p:nvSpPr>
        <p:spPr>
          <a:xfrm>
            <a:off x="6538527" y="3061131"/>
            <a:ext cx="1157986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50" b="1" dirty="0">
                <a:solidFill>
                  <a:schemeClr val="accent1">
                    <a:lumMod val="75000"/>
                  </a:schemeClr>
                </a:solidFill>
              </a:rPr>
              <a:t>SEASONAL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BB348FEE-9C80-4D58-98D2-078BCEB1C55F}"/>
              </a:ext>
            </a:extLst>
          </p:cNvPr>
          <p:cNvSpPr txBox="1"/>
          <p:nvPr/>
        </p:nvSpPr>
        <p:spPr>
          <a:xfrm>
            <a:off x="6550617" y="3245797"/>
            <a:ext cx="1100593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400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+1.1</a:t>
            </a:r>
            <a:r>
              <a:rPr lang="en-US" sz="1600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%</a:t>
            </a:r>
            <a:endParaRPr lang="en-US" sz="2400" dirty="0">
              <a:solidFill>
                <a:schemeClr val="bg1">
                  <a:lumMod val="50000"/>
                </a:schemeClr>
              </a:solidFill>
              <a:latin typeface="Bahnschrift" panose="020B0502040204020203" pitchFamily="34" charset="0"/>
              <a:cs typeface="Calibri" panose="020F0502020204030204" pitchFamily="34" charset="0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33C83F11-A104-4DBF-A607-588AEA0374A7}"/>
              </a:ext>
            </a:extLst>
          </p:cNvPr>
          <p:cNvSpPr/>
          <p:nvPr/>
        </p:nvSpPr>
        <p:spPr>
          <a:xfrm>
            <a:off x="7871977" y="3030868"/>
            <a:ext cx="1138148" cy="5523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AD01A544-7708-45F3-AEBA-774A047007C9}"/>
              </a:ext>
            </a:extLst>
          </p:cNvPr>
          <p:cNvSpPr txBox="1"/>
          <p:nvPr/>
        </p:nvSpPr>
        <p:spPr>
          <a:xfrm>
            <a:off x="7890883" y="3054388"/>
            <a:ext cx="1157986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50" b="1" dirty="0">
                <a:solidFill>
                  <a:schemeClr val="accent1">
                    <a:lumMod val="75000"/>
                  </a:schemeClr>
                </a:solidFill>
              </a:rPr>
              <a:t>NON SEASONAL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B07F3739-32B7-4FEA-BE3A-097A86A061DC}"/>
              </a:ext>
            </a:extLst>
          </p:cNvPr>
          <p:cNvSpPr txBox="1"/>
          <p:nvPr/>
        </p:nvSpPr>
        <p:spPr>
          <a:xfrm>
            <a:off x="7902973" y="3239054"/>
            <a:ext cx="1100593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400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-7.3</a:t>
            </a:r>
            <a:r>
              <a:rPr lang="en-US" sz="1600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%</a:t>
            </a:r>
            <a:endParaRPr lang="en-US" sz="2400" dirty="0">
              <a:solidFill>
                <a:schemeClr val="bg1">
                  <a:lumMod val="50000"/>
                </a:schemeClr>
              </a:solidFill>
              <a:latin typeface="Bahnschrift" panose="020B0502040204020203" pitchFamily="34" charset="0"/>
              <a:cs typeface="Calibri" panose="020F0502020204030204" pitchFamily="34" charset="0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BF56F0F5-BADD-437D-B7ED-8DFB418F5CE0}"/>
              </a:ext>
            </a:extLst>
          </p:cNvPr>
          <p:cNvSpPr/>
          <p:nvPr/>
        </p:nvSpPr>
        <p:spPr>
          <a:xfrm>
            <a:off x="9189089" y="3037611"/>
            <a:ext cx="1138148" cy="5523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99A598FF-0687-47A0-BA36-8E7412AF99CC}"/>
              </a:ext>
            </a:extLst>
          </p:cNvPr>
          <p:cNvSpPr txBox="1"/>
          <p:nvPr/>
        </p:nvSpPr>
        <p:spPr>
          <a:xfrm>
            <a:off x="9207995" y="3061131"/>
            <a:ext cx="1157986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50" b="1" dirty="0">
                <a:solidFill>
                  <a:schemeClr val="accent1">
                    <a:lumMod val="75000"/>
                  </a:schemeClr>
                </a:solidFill>
              </a:rPr>
              <a:t>MANUAL FCST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F0299E47-1801-4962-BD59-E6480D0510FB}"/>
              </a:ext>
            </a:extLst>
          </p:cNvPr>
          <p:cNvSpPr txBox="1"/>
          <p:nvPr/>
        </p:nvSpPr>
        <p:spPr>
          <a:xfrm>
            <a:off x="9220085" y="3245797"/>
            <a:ext cx="1100593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400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-17.7</a:t>
            </a:r>
            <a:r>
              <a:rPr lang="en-US" sz="1600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%</a:t>
            </a:r>
            <a:endParaRPr lang="en-US" sz="2400" dirty="0">
              <a:solidFill>
                <a:schemeClr val="bg1">
                  <a:lumMod val="50000"/>
                </a:schemeClr>
              </a:solidFill>
              <a:latin typeface="Bahnschrift" panose="020B0502040204020203" pitchFamily="34" charset="0"/>
              <a:cs typeface="Calibri" panose="020F0502020204030204" pitchFamily="34" charset="0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FE160325-09F3-4829-8377-B0BFAEA7EB00}"/>
              </a:ext>
            </a:extLst>
          </p:cNvPr>
          <p:cNvSpPr/>
          <p:nvPr/>
        </p:nvSpPr>
        <p:spPr>
          <a:xfrm>
            <a:off x="10524705" y="3037611"/>
            <a:ext cx="1138148" cy="5523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56F010A4-A8CF-449F-8AA6-2C571E899380}"/>
              </a:ext>
            </a:extLst>
          </p:cNvPr>
          <p:cNvSpPr txBox="1"/>
          <p:nvPr/>
        </p:nvSpPr>
        <p:spPr>
          <a:xfrm>
            <a:off x="10543611" y="3061131"/>
            <a:ext cx="1157986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50" b="1" dirty="0">
                <a:solidFill>
                  <a:schemeClr val="accent1">
                    <a:lumMod val="75000"/>
                  </a:schemeClr>
                </a:solidFill>
              </a:rPr>
              <a:t>SHORT ORD CYCLE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511D2F2A-FDDC-4EB4-AFB6-3DC454195B77}"/>
              </a:ext>
            </a:extLst>
          </p:cNvPr>
          <p:cNvSpPr txBox="1"/>
          <p:nvPr/>
        </p:nvSpPr>
        <p:spPr>
          <a:xfrm>
            <a:off x="10555701" y="3245797"/>
            <a:ext cx="1100593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400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+1.9</a:t>
            </a:r>
            <a:r>
              <a:rPr lang="en-US" sz="1600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%</a:t>
            </a:r>
            <a:endParaRPr lang="en-US" sz="2400" dirty="0">
              <a:solidFill>
                <a:schemeClr val="bg1">
                  <a:lumMod val="50000"/>
                </a:schemeClr>
              </a:solidFill>
              <a:latin typeface="Bahnschrift" panose="020B0502040204020203" pitchFamily="34" charset="0"/>
              <a:cs typeface="Calibri" panose="020F0502020204030204" pitchFamily="34" charset="0"/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6DB28163-A57A-4A85-89DF-9DFBEBD7B47E}"/>
              </a:ext>
            </a:extLst>
          </p:cNvPr>
          <p:cNvSpPr/>
          <p:nvPr/>
        </p:nvSpPr>
        <p:spPr>
          <a:xfrm>
            <a:off x="3870301" y="3814527"/>
            <a:ext cx="1138148" cy="5523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4C4A1583-5E73-4904-8ECB-1CE092E421BA}"/>
              </a:ext>
            </a:extLst>
          </p:cNvPr>
          <p:cNvSpPr txBox="1"/>
          <p:nvPr/>
        </p:nvSpPr>
        <p:spPr>
          <a:xfrm>
            <a:off x="3889207" y="3838047"/>
            <a:ext cx="1157986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50" b="1" dirty="0">
                <a:solidFill>
                  <a:schemeClr val="accent1">
                    <a:lumMod val="75000"/>
                  </a:schemeClr>
                </a:solidFill>
              </a:rPr>
              <a:t>WATCH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E293020B-777A-4614-8B0A-DF7B7C4BF1C2}"/>
              </a:ext>
            </a:extLst>
          </p:cNvPr>
          <p:cNvSpPr txBox="1"/>
          <p:nvPr/>
        </p:nvSpPr>
        <p:spPr>
          <a:xfrm>
            <a:off x="3901297" y="4022713"/>
            <a:ext cx="1100593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400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+5.3</a:t>
            </a:r>
            <a:r>
              <a:rPr lang="en-US" sz="1600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%</a:t>
            </a:r>
            <a:endParaRPr lang="en-US" sz="2400" dirty="0">
              <a:solidFill>
                <a:schemeClr val="bg1">
                  <a:lumMod val="50000"/>
                </a:schemeClr>
              </a:solidFill>
              <a:latin typeface="Bahnschrift" panose="020B0502040204020203" pitchFamily="34" charset="0"/>
              <a:cs typeface="Calibri" panose="020F0502020204030204" pitchFamily="34" charset="0"/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3BE5DBDC-2C1C-42AF-846A-8CE3935D381C}"/>
              </a:ext>
            </a:extLst>
          </p:cNvPr>
          <p:cNvSpPr/>
          <p:nvPr/>
        </p:nvSpPr>
        <p:spPr>
          <a:xfrm>
            <a:off x="5219652" y="3818380"/>
            <a:ext cx="1138148" cy="5523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32BD3453-BF0B-4C19-97AF-B172CAD9E240}"/>
              </a:ext>
            </a:extLst>
          </p:cNvPr>
          <p:cNvSpPr txBox="1"/>
          <p:nvPr/>
        </p:nvSpPr>
        <p:spPr>
          <a:xfrm>
            <a:off x="5238558" y="3841900"/>
            <a:ext cx="1157986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50" b="1" dirty="0">
                <a:solidFill>
                  <a:schemeClr val="accent1">
                    <a:lumMod val="75000"/>
                  </a:schemeClr>
                </a:solidFill>
              </a:rPr>
              <a:t>SLOW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45514BFD-E95C-4C29-B208-2E14C71D2689}"/>
              </a:ext>
            </a:extLst>
          </p:cNvPr>
          <p:cNvSpPr txBox="1"/>
          <p:nvPr/>
        </p:nvSpPr>
        <p:spPr>
          <a:xfrm>
            <a:off x="5250648" y="4026566"/>
            <a:ext cx="1100593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400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+11.9</a:t>
            </a:r>
            <a:r>
              <a:rPr lang="en-US" sz="1600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%</a:t>
            </a:r>
            <a:endParaRPr lang="en-US" sz="2400" dirty="0">
              <a:solidFill>
                <a:schemeClr val="bg1">
                  <a:lumMod val="50000"/>
                </a:schemeClr>
              </a:solidFill>
              <a:latin typeface="Bahnschrift" panose="020B0502040204020203" pitchFamily="34" charset="0"/>
              <a:cs typeface="Calibri" panose="020F0502020204030204" pitchFamily="34" charset="0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7FD56037-1A2C-49E1-82B5-6F70730F4C9B}"/>
              </a:ext>
            </a:extLst>
          </p:cNvPr>
          <p:cNvSpPr/>
          <p:nvPr/>
        </p:nvSpPr>
        <p:spPr>
          <a:xfrm>
            <a:off x="6538527" y="3819424"/>
            <a:ext cx="1138148" cy="5523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49430A71-9A4E-42B2-91AF-3B28EE656BE1}"/>
              </a:ext>
            </a:extLst>
          </p:cNvPr>
          <p:cNvSpPr txBox="1"/>
          <p:nvPr/>
        </p:nvSpPr>
        <p:spPr>
          <a:xfrm>
            <a:off x="6557433" y="3842944"/>
            <a:ext cx="1157986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50" b="1" dirty="0">
                <a:solidFill>
                  <a:schemeClr val="accent1">
                    <a:lumMod val="75000"/>
                  </a:schemeClr>
                </a:solidFill>
              </a:rPr>
              <a:t>SHORT LEAD TIME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A7F13EE3-DBFB-41C2-8245-5D64C4AD39B8}"/>
              </a:ext>
            </a:extLst>
          </p:cNvPr>
          <p:cNvSpPr txBox="1"/>
          <p:nvPr/>
        </p:nvSpPr>
        <p:spPr>
          <a:xfrm>
            <a:off x="6569523" y="4027610"/>
            <a:ext cx="1100593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400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-4.5</a:t>
            </a:r>
            <a:r>
              <a:rPr lang="en-US" sz="1600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%</a:t>
            </a:r>
            <a:endParaRPr lang="en-US" sz="2400" dirty="0">
              <a:solidFill>
                <a:schemeClr val="bg1">
                  <a:lumMod val="50000"/>
                </a:schemeClr>
              </a:solidFill>
              <a:latin typeface="Bahnschrift" panose="020B0502040204020203" pitchFamily="34" charset="0"/>
              <a:cs typeface="Calibri" panose="020F0502020204030204" pitchFamily="34" charset="0"/>
            </a:endParaRP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3AB2DCE4-AA29-4483-B03B-92CE8CDE4FFC}"/>
              </a:ext>
            </a:extLst>
          </p:cNvPr>
          <p:cNvSpPr/>
          <p:nvPr/>
        </p:nvSpPr>
        <p:spPr>
          <a:xfrm>
            <a:off x="7890883" y="3812681"/>
            <a:ext cx="1138148" cy="5523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10ABA7D4-C425-4783-B225-DF0480DF9C2F}"/>
              </a:ext>
            </a:extLst>
          </p:cNvPr>
          <p:cNvSpPr txBox="1"/>
          <p:nvPr/>
        </p:nvSpPr>
        <p:spPr>
          <a:xfrm>
            <a:off x="7909789" y="3836201"/>
            <a:ext cx="1157986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50" b="1" dirty="0">
                <a:solidFill>
                  <a:schemeClr val="accent1">
                    <a:lumMod val="75000"/>
                  </a:schemeClr>
                </a:solidFill>
              </a:rPr>
              <a:t>LONG LEAD TIME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221BAAA1-E68D-4871-BC5F-6E0BE8F76FFF}"/>
              </a:ext>
            </a:extLst>
          </p:cNvPr>
          <p:cNvSpPr txBox="1"/>
          <p:nvPr/>
        </p:nvSpPr>
        <p:spPr>
          <a:xfrm>
            <a:off x="7921879" y="4020867"/>
            <a:ext cx="1100593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400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+6.3</a:t>
            </a:r>
            <a:r>
              <a:rPr lang="en-US" sz="1600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%</a:t>
            </a:r>
            <a:endParaRPr lang="en-US" sz="2400" dirty="0">
              <a:solidFill>
                <a:schemeClr val="bg1">
                  <a:lumMod val="50000"/>
                </a:schemeClr>
              </a:solidFill>
              <a:latin typeface="Bahnschrift" panose="020B0502040204020203" pitchFamily="34" charset="0"/>
              <a:cs typeface="Calibri" panose="020F0502020204030204" pitchFamily="34" charset="0"/>
            </a:endParaRP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076B9D4E-17A6-4609-BB99-443941EFD89B}"/>
              </a:ext>
            </a:extLst>
          </p:cNvPr>
          <p:cNvSpPr/>
          <p:nvPr/>
        </p:nvSpPr>
        <p:spPr>
          <a:xfrm>
            <a:off x="9207995" y="3819424"/>
            <a:ext cx="1138148" cy="5523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7036EB23-5E0C-43BB-8CB0-90DCD966F160}"/>
              </a:ext>
            </a:extLst>
          </p:cNvPr>
          <p:cNvSpPr txBox="1"/>
          <p:nvPr/>
        </p:nvSpPr>
        <p:spPr>
          <a:xfrm>
            <a:off x="9226901" y="3842944"/>
            <a:ext cx="1157986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50" b="1" dirty="0">
                <a:solidFill>
                  <a:schemeClr val="accent1">
                    <a:lumMod val="75000"/>
                  </a:schemeClr>
                </a:solidFill>
              </a:rPr>
              <a:t>SHORT LT DEV</a:t>
            </a: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B75AF0E8-B1F5-4430-ABEC-C1F0AEF2ACE7}"/>
              </a:ext>
            </a:extLst>
          </p:cNvPr>
          <p:cNvSpPr txBox="1"/>
          <p:nvPr/>
        </p:nvSpPr>
        <p:spPr>
          <a:xfrm>
            <a:off x="9238991" y="4027610"/>
            <a:ext cx="1100593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400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-7.5</a:t>
            </a:r>
            <a:r>
              <a:rPr lang="en-US" sz="1600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%</a:t>
            </a:r>
            <a:endParaRPr lang="en-US" sz="2400" dirty="0">
              <a:solidFill>
                <a:schemeClr val="bg1">
                  <a:lumMod val="50000"/>
                </a:schemeClr>
              </a:solidFill>
              <a:latin typeface="Bahnschrift" panose="020B0502040204020203" pitchFamily="34" charset="0"/>
              <a:cs typeface="Calibri" panose="020F0502020204030204" pitchFamily="34" charset="0"/>
            </a:endParaRP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3D1BFAE9-2A59-4547-B412-C310616D010F}"/>
              </a:ext>
            </a:extLst>
          </p:cNvPr>
          <p:cNvSpPr/>
          <p:nvPr/>
        </p:nvSpPr>
        <p:spPr>
          <a:xfrm>
            <a:off x="10543611" y="3819424"/>
            <a:ext cx="1138148" cy="5523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B72ADB84-9B92-4A02-96CC-CE1843777EE7}"/>
              </a:ext>
            </a:extLst>
          </p:cNvPr>
          <p:cNvSpPr txBox="1"/>
          <p:nvPr/>
        </p:nvSpPr>
        <p:spPr>
          <a:xfrm>
            <a:off x="10562517" y="3842944"/>
            <a:ext cx="1157986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50" b="1" dirty="0">
                <a:solidFill>
                  <a:schemeClr val="accent1">
                    <a:lumMod val="75000"/>
                  </a:schemeClr>
                </a:solidFill>
              </a:rPr>
              <a:t>PRIV LABEL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B96D6F3B-CC93-4568-9908-50DE2565B4E7}"/>
              </a:ext>
            </a:extLst>
          </p:cNvPr>
          <p:cNvSpPr txBox="1"/>
          <p:nvPr/>
        </p:nvSpPr>
        <p:spPr>
          <a:xfrm>
            <a:off x="10574607" y="4027610"/>
            <a:ext cx="1100593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400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+9.0</a:t>
            </a:r>
            <a:r>
              <a:rPr lang="en-US" sz="1600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%</a:t>
            </a:r>
            <a:endParaRPr lang="en-US" sz="2400" dirty="0">
              <a:solidFill>
                <a:schemeClr val="bg1">
                  <a:lumMod val="50000"/>
                </a:schemeClr>
              </a:solidFill>
              <a:latin typeface="Bahnschrift" panose="020B0502040204020203" pitchFamily="34" charset="0"/>
              <a:cs typeface="Calibri" panose="020F0502020204030204" pitchFamily="34" charset="0"/>
            </a:endParaRPr>
          </a:p>
        </p:txBody>
      </p:sp>
      <p:pic>
        <p:nvPicPr>
          <p:cNvPr id="106" name="Picture 105">
            <a:extLst>
              <a:ext uri="{FF2B5EF4-FFF2-40B4-BE49-F238E27FC236}">
                <a16:creationId xmlns:a16="http://schemas.microsoft.com/office/drawing/2014/main" id="{A808247F-D357-4A67-B57D-F05CA418DFED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495271" y="3063453"/>
            <a:ext cx="1957653" cy="1274376"/>
          </a:xfrm>
          <a:prstGeom prst="rect">
            <a:avLst/>
          </a:prstGeom>
        </p:spPr>
      </p:pic>
      <p:sp>
        <p:nvSpPr>
          <p:cNvPr id="108" name="TextBox 107">
            <a:extLst>
              <a:ext uri="{FF2B5EF4-FFF2-40B4-BE49-F238E27FC236}">
                <a16:creationId xmlns:a16="http://schemas.microsoft.com/office/drawing/2014/main" id="{7C8BDC40-427B-4D47-9435-83090CBD2E3A}"/>
              </a:ext>
            </a:extLst>
          </p:cNvPr>
          <p:cNvSpPr txBox="1"/>
          <p:nvPr/>
        </p:nvSpPr>
        <p:spPr>
          <a:xfrm>
            <a:off x="1169481" y="3256945"/>
            <a:ext cx="251544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accent1">
                    <a:lumMod val="75000"/>
                  </a:schemeClr>
                </a:solidFill>
              </a:rPr>
              <a:t>FORECAST ACCURACY</a:t>
            </a: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3C32386E-64C4-41E1-A1AC-6D7BA6E6E600}"/>
              </a:ext>
            </a:extLst>
          </p:cNvPr>
          <p:cNvSpPr txBox="1"/>
          <p:nvPr/>
        </p:nvSpPr>
        <p:spPr>
          <a:xfrm>
            <a:off x="1897694" y="3519973"/>
            <a:ext cx="1100593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3600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+1.5</a:t>
            </a:r>
            <a:r>
              <a:rPr lang="en-US" sz="2400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%</a:t>
            </a:r>
            <a:endParaRPr lang="en-US" sz="3600" dirty="0">
              <a:solidFill>
                <a:schemeClr val="bg1">
                  <a:lumMod val="50000"/>
                </a:schemeClr>
              </a:solidFill>
              <a:latin typeface="Bahnschrift" panose="020B0502040204020203" pitchFamily="34" charset="0"/>
              <a:cs typeface="Calibri" panose="020F0502020204030204" pitchFamily="34" charset="0"/>
            </a:endParaRPr>
          </a:p>
        </p:txBody>
      </p:sp>
      <p:pic>
        <p:nvPicPr>
          <p:cNvPr id="112" name="Picture 111">
            <a:extLst>
              <a:ext uri="{FF2B5EF4-FFF2-40B4-BE49-F238E27FC236}">
                <a16:creationId xmlns:a16="http://schemas.microsoft.com/office/drawing/2014/main" id="{62215C90-BF19-4CCA-AA51-E56104A78EF7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5501" y="4567314"/>
            <a:ext cx="10674442" cy="1500326"/>
          </a:xfrm>
          <a:prstGeom prst="rect">
            <a:avLst/>
          </a:prstGeom>
        </p:spPr>
      </p:pic>
      <p:sp>
        <p:nvSpPr>
          <p:cNvPr id="114" name="TextBox 113">
            <a:extLst>
              <a:ext uri="{FF2B5EF4-FFF2-40B4-BE49-F238E27FC236}">
                <a16:creationId xmlns:a16="http://schemas.microsoft.com/office/drawing/2014/main" id="{3CFA847C-1BB5-43BC-BCA9-F81778C5C53C}"/>
              </a:ext>
            </a:extLst>
          </p:cNvPr>
          <p:cNvSpPr txBox="1"/>
          <p:nvPr/>
        </p:nvSpPr>
        <p:spPr>
          <a:xfrm>
            <a:off x="1147917" y="2583645"/>
            <a:ext cx="405282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400" b="1" dirty="0">
                <a:solidFill>
                  <a:schemeClr val="accent1">
                    <a:lumMod val="75000"/>
                  </a:schemeClr>
                </a:solidFill>
              </a:rPr>
              <a:t>PERFORMANCE</a:t>
            </a:r>
          </a:p>
        </p:txBody>
      </p:sp>
      <p:sp>
        <p:nvSpPr>
          <p:cNvPr id="116" name="Isosceles Triangle 115">
            <a:extLst>
              <a:ext uri="{FF2B5EF4-FFF2-40B4-BE49-F238E27FC236}">
                <a16:creationId xmlns:a16="http://schemas.microsoft.com/office/drawing/2014/main" id="{971FB75D-7A0B-42AE-B27E-B8358B7B67AC}"/>
              </a:ext>
            </a:extLst>
          </p:cNvPr>
          <p:cNvSpPr/>
          <p:nvPr/>
        </p:nvSpPr>
        <p:spPr>
          <a:xfrm rot="5400000">
            <a:off x="11106599" y="3567350"/>
            <a:ext cx="1543774" cy="235767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C9496F72-052B-44C3-A710-2828F5171C2C}"/>
              </a:ext>
            </a:extLst>
          </p:cNvPr>
          <p:cNvSpPr txBox="1"/>
          <p:nvPr/>
        </p:nvSpPr>
        <p:spPr>
          <a:xfrm>
            <a:off x="11572551" y="3563084"/>
            <a:ext cx="54600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accent4">
                    <a:lumMod val="75000"/>
                  </a:schemeClr>
                </a:solidFill>
              </a:rPr>
              <a:t>+</a:t>
            </a:r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6703EB40-D43B-4C85-BE0E-DD995681488F}"/>
              </a:ext>
            </a:extLst>
          </p:cNvPr>
          <p:cNvSpPr/>
          <p:nvPr/>
        </p:nvSpPr>
        <p:spPr>
          <a:xfrm>
            <a:off x="3766166" y="1492349"/>
            <a:ext cx="1905999" cy="787967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7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404B8685-B81A-4C85-947A-75C5069F00C9}"/>
              </a:ext>
            </a:extLst>
          </p:cNvPr>
          <p:cNvSpPr txBox="1"/>
          <p:nvPr/>
        </p:nvSpPr>
        <p:spPr>
          <a:xfrm>
            <a:off x="3746467" y="1563158"/>
            <a:ext cx="190673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accent1">
                    <a:lumMod val="75000"/>
                  </a:schemeClr>
                </a:solidFill>
              </a:rPr>
              <a:t>AVG ONE-DAY REVENUE</a:t>
            </a: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2CACECBC-41DE-4885-91F9-29CBAD9C360B}"/>
              </a:ext>
            </a:extLst>
          </p:cNvPr>
          <p:cNvSpPr txBox="1"/>
          <p:nvPr/>
        </p:nvSpPr>
        <p:spPr>
          <a:xfrm>
            <a:off x="3746467" y="1755563"/>
            <a:ext cx="1941227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400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$</a:t>
            </a:r>
            <a:r>
              <a:rPr lang="en-US" sz="3200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2.6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M</a:t>
            </a:r>
            <a:endParaRPr lang="en-US" sz="2800" dirty="0">
              <a:solidFill>
                <a:schemeClr val="bg1">
                  <a:lumMod val="50000"/>
                </a:schemeClr>
              </a:solidFill>
              <a:latin typeface="Bahnschrift" panose="020B0502040204020203" pitchFamily="34" charset="0"/>
              <a:cs typeface="Calibri" panose="020F0502020204030204" pitchFamily="34" charset="0"/>
            </a:endParaRPr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7AFC2A94-4E41-4088-A906-EBFF7F0F9C02}"/>
              </a:ext>
            </a:extLst>
          </p:cNvPr>
          <p:cNvSpPr/>
          <p:nvPr/>
        </p:nvSpPr>
        <p:spPr>
          <a:xfrm>
            <a:off x="5764467" y="1499641"/>
            <a:ext cx="1905999" cy="787967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7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47175A75-5C0A-46C7-87CC-F80E9428FD67}"/>
              </a:ext>
            </a:extLst>
          </p:cNvPr>
          <p:cNvSpPr txBox="1"/>
          <p:nvPr/>
        </p:nvSpPr>
        <p:spPr>
          <a:xfrm>
            <a:off x="5744768" y="1570450"/>
            <a:ext cx="190673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accent1">
                    <a:lumMod val="75000"/>
                  </a:schemeClr>
                </a:solidFill>
              </a:rPr>
              <a:t>ACTUAL REVENUE PTD</a:t>
            </a:r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25632322-D9B5-449B-8A88-24A59A87684A}"/>
              </a:ext>
            </a:extLst>
          </p:cNvPr>
          <p:cNvSpPr/>
          <p:nvPr/>
        </p:nvSpPr>
        <p:spPr>
          <a:xfrm>
            <a:off x="7762768" y="1499641"/>
            <a:ext cx="1905999" cy="787967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7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9D21B34E-2DEF-4C93-88B0-BAB0813807B1}"/>
              </a:ext>
            </a:extLst>
          </p:cNvPr>
          <p:cNvSpPr/>
          <p:nvPr/>
        </p:nvSpPr>
        <p:spPr>
          <a:xfrm>
            <a:off x="9761069" y="1506933"/>
            <a:ext cx="1905999" cy="787967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7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id="{8D94B98B-DC51-4B93-B13C-053A9A08D9A7}"/>
              </a:ext>
            </a:extLst>
          </p:cNvPr>
          <p:cNvSpPr txBox="1"/>
          <p:nvPr/>
        </p:nvSpPr>
        <p:spPr>
          <a:xfrm>
            <a:off x="7766420" y="1744043"/>
            <a:ext cx="1902348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3200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75</a:t>
            </a:r>
            <a:endParaRPr lang="en-US" sz="2800" dirty="0">
              <a:solidFill>
                <a:schemeClr val="bg1">
                  <a:lumMod val="50000"/>
                </a:schemeClr>
              </a:solidFill>
              <a:latin typeface="Bahnschrift" panose="020B0502040204020203" pitchFamily="34" charset="0"/>
              <a:cs typeface="Calibri" panose="020F0502020204030204" pitchFamily="34" charset="0"/>
            </a:endParaRPr>
          </a:p>
        </p:txBody>
      </p:sp>
      <p:sp>
        <p:nvSpPr>
          <p:cNvPr id="136" name="TextBox 135">
            <a:extLst>
              <a:ext uri="{FF2B5EF4-FFF2-40B4-BE49-F238E27FC236}">
                <a16:creationId xmlns:a16="http://schemas.microsoft.com/office/drawing/2014/main" id="{0195CC68-7846-4F13-A795-7A43AF518EF4}"/>
              </a:ext>
            </a:extLst>
          </p:cNvPr>
          <p:cNvSpPr txBox="1"/>
          <p:nvPr/>
        </p:nvSpPr>
        <p:spPr>
          <a:xfrm>
            <a:off x="9772852" y="1750504"/>
            <a:ext cx="1902348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3200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32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%</a:t>
            </a:r>
            <a:endParaRPr lang="en-US" sz="2800" dirty="0">
              <a:solidFill>
                <a:schemeClr val="bg1">
                  <a:lumMod val="50000"/>
                </a:schemeClr>
              </a:solidFill>
              <a:latin typeface="Bahnschrift" panose="020B0502040204020203" pitchFamily="34" charset="0"/>
              <a:cs typeface="Calibri" panose="020F0502020204030204" pitchFamily="34" charset="0"/>
            </a:endParaRPr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id="{7BE17747-9EE8-4483-8FC1-96C1AF011059}"/>
              </a:ext>
            </a:extLst>
          </p:cNvPr>
          <p:cNvSpPr txBox="1"/>
          <p:nvPr/>
        </p:nvSpPr>
        <p:spPr>
          <a:xfrm>
            <a:off x="3746468" y="1217722"/>
            <a:ext cx="390503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accent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VENUE</a:t>
            </a:r>
          </a:p>
        </p:txBody>
      </p:sp>
      <p:sp>
        <p:nvSpPr>
          <p:cNvPr id="140" name="TextBox 139">
            <a:extLst>
              <a:ext uri="{FF2B5EF4-FFF2-40B4-BE49-F238E27FC236}">
                <a16:creationId xmlns:a16="http://schemas.microsoft.com/office/drawing/2014/main" id="{604EEF0C-6D09-4F1D-B74B-2060F5C1F7B2}"/>
              </a:ext>
            </a:extLst>
          </p:cNvPr>
          <p:cNvSpPr txBox="1"/>
          <p:nvPr/>
        </p:nvSpPr>
        <p:spPr>
          <a:xfrm>
            <a:off x="7762768" y="1224751"/>
            <a:ext cx="3885334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accent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EMAND FORECASTING</a:t>
            </a: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00CDFD7D-7415-48D3-98EA-656063FC2A85}"/>
              </a:ext>
            </a:extLst>
          </p:cNvPr>
          <p:cNvSpPr txBox="1"/>
          <p:nvPr/>
        </p:nvSpPr>
        <p:spPr>
          <a:xfrm>
            <a:off x="7769918" y="1570202"/>
            <a:ext cx="190673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accent1">
                    <a:lumMod val="75000"/>
                  </a:schemeClr>
                </a:solidFill>
              </a:rPr>
              <a:t>AVG DEM FORECAST</a:t>
            </a:r>
          </a:p>
        </p:txBody>
      </p:sp>
      <p:sp>
        <p:nvSpPr>
          <p:cNvPr id="144" name="TextBox 143">
            <a:extLst>
              <a:ext uri="{FF2B5EF4-FFF2-40B4-BE49-F238E27FC236}">
                <a16:creationId xmlns:a16="http://schemas.microsoft.com/office/drawing/2014/main" id="{3C7F08F2-6FD2-4B29-BEA2-91465A7F1E52}"/>
              </a:ext>
            </a:extLst>
          </p:cNvPr>
          <p:cNvSpPr txBox="1"/>
          <p:nvPr/>
        </p:nvSpPr>
        <p:spPr>
          <a:xfrm>
            <a:off x="9768219" y="1577494"/>
            <a:ext cx="190673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accent1">
                    <a:lumMod val="75000"/>
                  </a:schemeClr>
                </a:solidFill>
              </a:rPr>
              <a:t>AVG DEM DEVIATION</a:t>
            </a:r>
          </a:p>
        </p:txBody>
      </p:sp>
      <p:sp>
        <p:nvSpPr>
          <p:cNvPr id="146" name="TextBox 145">
            <a:extLst>
              <a:ext uri="{FF2B5EF4-FFF2-40B4-BE49-F238E27FC236}">
                <a16:creationId xmlns:a16="http://schemas.microsoft.com/office/drawing/2014/main" id="{580A0343-B5A7-4E02-BE86-1A48A80A028E}"/>
              </a:ext>
            </a:extLst>
          </p:cNvPr>
          <p:cNvSpPr txBox="1"/>
          <p:nvPr/>
        </p:nvSpPr>
        <p:spPr>
          <a:xfrm>
            <a:off x="5755021" y="1754123"/>
            <a:ext cx="1941227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400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$</a:t>
            </a:r>
            <a:r>
              <a:rPr lang="en-US" sz="3200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37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M</a:t>
            </a:r>
            <a:endParaRPr lang="en-US" sz="2800" dirty="0">
              <a:solidFill>
                <a:schemeClr val="bg1">
                  <a:lumMod val="50000"/>
                </a:schemeClr>
              </a:solidFill>
              <a:latin typeface="Bahnschrift" panose="020B0502040204020203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833665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E5B24B26-F498-479A-9712-3BC24141A4F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135743"/>
            <a:ext cx="10622422" cy="4586514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6501E917-7666-4006-A5F2-1CF1AD5A3080}"/>
              </a:ext>
            </a:extLst>
          </p:cNvPr>
          <p:cNvSpPr/>
          <p:nvPr/>
        </p:nvSpPr>
        <p:spPr>
          <a:xfrm>
            <a:off x="1061666" y="0"/>
            <a:ext cx="4267200" cy="5722257"/>
          </a:xfrm>
          <a:prstGeom prst="rect">
            <a:avLst/>
          </a:prstGeom>
          <a:solidFill>
            <a:schemeClr val="accent5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51BDE8C-C874-4027-92B6-106F8C9E07A1}"/>
              </a:ext>
            </a:extLst>
          </p:cNvPr>
          <p:cNvSpPr txBox="1"/>
          <p:nvPr/>
        </p:nvSpPr>
        <p:spPr>
          <a:xfrm>
            <a:off x="766432" y="1078368"/>
            <a:ext cx="4871103" cy="92333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6000" dirty="0">
                <a:solidFill>
                  <a:schemeClr val="bg1"/>
                </a:solidFill>
                <a:latin typeface="Bahnschrift" panose="020B0502040204020203" pitchFamily="34" charset="0"/>
                <a:cs typeface="Segoe UI Semibold" panose="020B0702040204020203" pitchFamily="34" charset="0"/>
              </a:rPr>
              <a:t>SUPPLIER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137E19D-7CC6-44E7-B736-53B5C1C90261}"/>
              </a:ext>
            </a:extLst>
          </p:cNvPr>
          <p:cNvSpPr txBox="1"/>
          <p:nvPr/>
        </p:nvSpPr>
        <p:spPr>
          <a:xfrm>
            <a:off x="1060764" y="3006218"/>
            <a:ext cx="4267200" cy="135421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4400" dirty="0">
                <a:solidFill>
                  <a:schemeClr val="bg1"/>
                </a:solidFill>
                <a:effectLst/>
                <a:latin typeface="Bahnschrift" panose="020B0502040204020203" pitchFamily="34" charset="0"/>
                <a:cs typeface="Segoe UI Semibold" panose="020B0702040204020203" pitchFamily="34" charset="0"/>
              </a:rPr>
              <a:t>Key Values</a:t>
            </a:r>
          </a:p>
          <a:p>
            <a:pPr algn="ctr"/>
            <a:r>
              <a:rPr lang="en-US" sz="4400" dirty="0">
                <a:solidFill>
                  <a:schemeClr val="bg1"/>
                </a:solidFill>
                <a:effectLst/>
                <a:latin typeface="Bahnschrift" panose="020B0502040204020203" pitchFamily="34" charset="0"/>
                <a:cs typeface="Segoe UI Semibold" panose="020B0702040204020203" pitchFamily="34" charset="0"/>
              </a:rPr>
              <a:t>&amp; Benchmark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C41C101-9D40-4104-84CE-7FEA3AED1BBE}"/>
              </a:ext>
            </a:extLst>
          </p:cNvPr>
          <p:cNvSpPr txBox="1"/>
          <p:nvPr/>
        </p:nvSpPr>
        <p:spPr>
          <a:xfrm>
            <a:off x="766431" y="1858051"/>
            <a:ext cx="4871103" cy="6001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3900" dirty="0">
                <a:solidFill>
                  <a:schemeClr val="bg1"/>
                </a:solidFill>
                <a:latin typeface="Bahnschrift" panose="020B0502040204020203" pitchFamily="34" charset="0"/>
                <a:cs typeface="Segoe UI Semibold" panose="020B0702040204020203" pitchFamily="34" charset="0"/>
              </a:rPr>
              <a:t>PERFORMANC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D356D38-6C74-480C-B730-098514883B21}"/>
              </a:ext>
            </a:extLst>
          </p:cNvPr>
          <p:cNvSpPr txBox="1"/>
          <p:nvPr/>
        </p:nvSpPr>
        <p:spPr>
          <a:xfrm>
            <a:off x="-1" y="106207"/>
            <a:ext cx="1060765" cy="92333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6000" dirty="0">
                <a:solidFill>
                  <a:schemeClr val="accent1"/>
                </a:solidFill>
                <a:latin typeface="Bahnschrift" panose="020B0502040204020203" pitchFamily="34" charset="0"/>
                <a:cs typeface="Segoe UI Semibold" panose="020B0702040204020203" pitchFamily="34" charset="0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227184301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2072424-5D56-4214-9B0E-115C1E9D580C}"/>
              </a:ext>
            </a:extLst>
          </p:cNvPr>
          <p:cNvSpPr/>
          <p:nvPr/>
        </p:nvSpPr>
        <p:spPr>
          <a:xfrm>
            <a:off x="1166948" y="6448197"/>
            <a:ext cx="10013044" cy="181203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A4CCC08-A329-477A-B80B-2665F19C7039}"/>
              </a:ext>
            </a:extLst>
          </p:cNvPr>
          <p:cNvSpPr/>
          <p:nvPr/>
        </p:nvSpPr>
        <p:spPr>
          <a:xfrm>
            <a:off x="11267076" y="6448197"/>
            <a:ext cx="924923" cy="18120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67" name="Chart 66">
            <a:extLst>
              <a:ext uri="{FF2B5EF4-FFF2-40B4-BE49-F238E27FC236}">
                <a16:creationId xmlns:a16="http://schemas.microsoft.com/office/drawing/2014/main" id="{E4D9C660-107C-4AC7-916B-10D838F43C2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64255974"/>
              </p:ext>
            </p:extLst>
          </p:nvPr>
        </p:nvGraphicFramePr>
        <p:xfrm>
          <a:off x="278808" y="2133969"/>
          <a:ext cx="11764711" cy="35854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15" name="Picture 14">
            <a:extLst>
              <a:ext uri="{FF2B5EF4-FFF2-40B4-BE49-F238E27FC236}">
                <a16:creationId xmlns:a16="http://schemas.microsoft.com/office/drawing/2014/main" id="{16D71225-67D9-4D2D-8C1D-31216784E68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899" y="5866267"/>
            <a:ext cx="830596" cy="855208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A825893A-5D1E-4151-9026-81CDA7737062}"/>
              </a:ext>
            </a:extLst>
          </p:cNvPr>
          <p:cNvSpPr/>
          <p:nvPr/>
        </p:nvSpPr>
        <p:spPr>
          <a:xfrm>
            <a:off x="338984" y="0"/>
            <a:ext cx="1207805" cy="1577589"/>
          </a:xfrm>
          <a:prstGeom prst="rect">
            <a:avLst/>
          </a:prstGeom>
          <a:solidFill>
            <a:schemeClr val="accent1">
              <a:lumMod val="75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245456E-1377-4768-ABCE-10F1CC2EE3BD}"/>
              </a:ext>
            </a:extLst>
          </p:cNvPr>
          <p:cNvSpPr txBox="1"/>
          <p:nvPr/>
        </p:nvSpPr>
        <p:spPr>
          <a:xfrm>
            <a:off x="18815" y="86259"/>
            <a:ext cx="1848142" cy="123110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80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hnschrift" panose="020B0502040204020203" pitchFamily="34" charset="0"/>
                <a:cs typeface="Segoe UI Semibold" panose="020B0702040204020203" pitchFamily="34" charset="0"/>
              </a:rPr>
              <a:t>B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8CA71D2-9DF2-4CC8-8A5A-8A5B4D9EB353}"/>
              </a:ext>
            </a:extLst>
          </p:cNvPr>
          <p:cNvSpPr txBox="1"/>
          <p:nvPr/>
        </p:nvSpPr>
        <p:spPr>
          <a:xfrm>
            <a:off x="180898" y="1313272"/>
            <a:ext cx="1528261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+mj-lt"/>
                <a:cs typeface="Segoe UI Semibold" panose="020B0702040204020203" pitchFamily="34" charset="0"/>
              </a:rPr>
              <a:t>BENCHMARK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45BB7C53-3A96-4A77-988F-3CC20E7D6D54}"/>
              </a:ext>
            </a:extLst>
          </p:cNvPr>
          <p:cNvSpPr/>
          <p:nvPr/>
        </p:nvSpPr>
        <p:spPr>
          <a:xfrm flipH="1">
            <a:off x="8501887" y="180860"/>
            <a:ext cx="287430" cy="287430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D7DDCD6-44D1-49A8-BD7C-5227345396B1}"/>
              </a:ext>
            </a:extLst>
          </p:cNvPr>
          <p:cNvSpPr txBox="1"/>
          <p:nvPr/>
        </p:nvSpPr>
        <p:spPr>
          <a:xfrm>
            <a:off x="8971058" y="201145"/>
            <a:ext cx="314257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b="1" dirty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VG LEAD TIME FORECAST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7C248A03-34ED-4D94-9BBB-20F2F812EA6E}"/>
              </a:ext>
            </a:extLst>
          </p:cNvPr>
          <p:cNvSpPr/>
          <p:nvPr/>
        </p:nvSpPr>
        <p:spPr>
          <a:xfrm flipH="1">
            <a:off x="8504059" y="597733"/>
            <a:ext cx="287430" cy="28743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C56269C-952A-4E68-8139-EECA4455D254}"/>
              </a:ext>
            </a:extLst>
          </p:cNvPr>
          <p:cNvSpPr txBox="1"/>
          <p:nvPr/>
        </p:nvSpPr>
        <p:spPr>
          <a:xfrm>
            <a:off x="8961120" y="618337"/>
            <a:ext cx="3142574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b="1" dirty="0">
                <a:solidFill>
                  <a:schemeClr val="accent1">
                    <a:lumMod val="40000"/>
                    <a:lumOff val="6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VG LEAD TIME DEVIATION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1C6CBC81-5B9B-4A20-B5E4-4C643E898973}"/>
              </a:ext>
            </a:extLst>
          </p:cNvPr>
          <p:cNvSpPr/>
          <p:nvPr/>
        </p:nvSpPr>
        <p:spPr>
          <a:xfrm flipH="1">
            <a:off x="8504059" y="1060300"/>
            <a:ext cx="287430" cy="287430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5751C33-6693-4C90-8CBE-328DC1606583}"/>
              </a:ext>
            </a:extLst>
          </p:cNvPr>
          <p:cNvSpPr txBox="1"/>
          <p:nvPr/>
        </p:nvSpPr>
        <p:spPr>
          <a:xfrm>
            <a:off x="8961120" y="1080904"/>
            <a:ext cx="289189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b="1" dirty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% ITEMS LT &lt; 5 DAYS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6B065D6A-6CBE-4512-829A-17BA295938BA}"/>
              </a:ext>
            </a:extLst>
          </p:cNvPr>
          <p:cNvSpPr/>
          <p:nvPr/>
        </p:nvSpPr>
        <p:spPr>
          <a:xfrm flipH="1">
            <a:off x="8504059" y="1502785"/>
            <a:ext cx="287430" cy="287430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C781659-89C9-4F2F-BF4E-406433153F98}"/>
              </a:ext>
            </a:extLst>
          </p:cNvPr>
          <p:cNvSpPr txBox="1"/>
          <p:nvPr/>
        </p:nvSpPr>
        <p:spPr>
          <a:xfrm>
            <a:off x="8961120" y="1523389"/>
            <a:ext cx="25146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b="1" dirty="0">
                <a:solidFill>
                  <a:srgbClr val="FF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% ITEMS LT &gt; 30 DAY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DCDF85B-4058-46B5-B0A3-7EAF4C4C70E5}"/>
              </a:ext>
            </a:extLst>
          </p:cNvPr>
          <p:cNvSpPr txBox="1"/>
          <p:nvPr/>
        </p:nvSpPr>
        <p:spPr>
          <a:xfrm>
            <a:off x="2306920" y="504567"/>
            <a:ext cx="4888988" cy="67710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4400" dirty="0">
                <a:solidFill>
                  <a:schemeClr val="tx1">
                    <a:lumMod val="65000"/>
                    <a:lumOff val="35000"/>
                  </a:schemeClr>
                </a:solidFill>
                <a:latin typeface="Bahnschrift" panose="020B0502040204020203" pitchFamily="34" charset="0"/>
                <a:cs typeface="Segoe UI Semibold" panose="020B0702040204020203" pitchFamily="34" charset="0"/>
              </a:rPr>
              <a:t>LEAD TIME</a:t>
            </a:r>
          </a:p>
        </p:txBody>
      </p:sp>
    </p:spTree>
    <p:extLst>
      <p:ext uri="{BB962C8B-B14F-4D97-AF65-F5344CB8AC3E}">
        <p14:creationId xmlns:p14="http://schemas.microsoft.com/office/powerpoint/2010/main" val="57696703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312A073-2E64-4525-A8A1-0172760C1973}"/>
              </a:ext>
            </a:extLst>
          </p:cNvPr>
          <p:cNvSpPr/>
          <p:nvPr/>
        </p:nvSpPr>
        <p:spPr>
          <a:xfrm>
            <a:off x="0" y="1905712"/>
            <a:ext cx="12103694" cy="380287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2072424-5D56-4214-9B0E-115C1E9D580C}"/>
              </a:ext>
            </a:extLst>
          </p:cNvPr>
          <p:cNvSpPr/>
          <p:nvPr/>
        </p:nvSpPr>
        <p:spPr>
          <a:xfrm>
            <a:off x="1166948" y="6448197"/>
            <a:ext cx="10013044" cy="181203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A4CCC08-A329-477A-B80B-2665F19C7039}"/>
              </a:ext>
            </a:extLst>
          </p:cNvPr>
          <p:cNvSpPr/>
          <p:nvPr/>
        </p:nvSpPr>
        <p:spPr>
          <a:xfrm>
            <a:off x="11267076" y="6448197"/>
            <a:ext cx="924923" cy="18120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E1CD0E2-CC0D-499F-9749-4EA83170CC35}"/>
              </a:ext>
            </a:extLst>
          </p:cNvPr>
          <p:cNvSpPr txBox="1"/>
          <p:nvPr/>
        </p:nvSpPr>
        <p:spPr>
          <a:xfrm>
            <a:off x="2304340" y="304803"/>
            <a:ext cx="5749261" cy="123110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en-US" sz="4000" dirty="0">
                <a:solidFill>
                  <a:schemeClr val="tx1">
                    <a:lumMod val="65000"/>
                    <a:lumOff val="35000"/>
                  </a:schemeClr>
                </a:solidFill>
                <a:latin typeface="Bahnschrift" panose="020B0502040204020203" pitchFamily="34" charset="0"/>
                <a:cs typeface="Segoe UI Semibold" panose="020B0702040204020203" pitchFamily="34" charset="0"/>
              </a:rPr>
              <a:t>SUPPLIER </a:t>
            </a:r>
          </a:p>
          <a:p>
            <a:r>
              <a:rPr lang="en-US" sz="4000" dirty="0">
                <a:solidFill>
                  <a:schemeClr val="tx1">
                    <a:lumMod val="65000"/>
                    <a:lumOff val="35000"/>
                  </a:schemeClr>
                </a:solidFill>
                <a:latin typeface="Bahnschrift" panose="020B0502040204020203" pitchFamily="34" charset="0"/>
                <a:cs typeface="Segoe UI Semibold" panose="020B0702040204020203" pitchFamily="34" charset="0"/>
              </a:rPr>
              <a:t>PERFORMANCE </a:t>
            </a:r>
          </a:p>
        </p:txBody>
      </p:sp>
      <p:graphicFrame>
        <p:nvGraphicFramePr>
          <p:cNvPr id="67" name="Chart 66">
            <a:extLst>
              <a:ext uri="{FF2B5EF4-FFF2-40B4-BE49-F238E27FC236}">
                <a16:creationId xmlns:a16="http://schemas.microsoft.com/office/drawing/2014/main" id="{E4D9C660-107C-4AC7-916B-10D838F43C2C}"/>
              </a:ext>
            </a:extLst>
          </p:cNvPr>
          <p:cNvGraphicFramePr/>
          <p:nvPr/>
        </p:nvGraphicFramePr>
        <p:xfrm>
          <a:off x="88306" y="2040966"/>
          <a:ext cx="11764711" cy="35854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Oval 6">
            <a:extLst>
              <a:ext uri="{FF2B5EF4-FFF2-40B4-BE49-F238E27FC236}">
                <a16:creationId xmlns:a16="http://schemas.microsoft.com/office/drawing/2014/main" id="{F79B8CEC-F69E-4D64-98CF-8450FC7EBD5C}"/>
              </a:ext>
            </a:extLst>
          </p:cNvPr>
          <p:cNvSpPr/>
          <p:nvPr/>
        </p:nvSpPr>
        <p:spPr>
          <a:xfrm flipH="1">
            <a:off x="8491948" y="121226"/>
            <a:ext cx="287430" cy="287430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Oval 72">
            <a:extLst>
              <a:ext uri="{FF2B5EF4-FFF2-40B4-BE49-F238E27FC236}">
                <a16:creationId xmlns:a16="http://schemas.microsoft.com/office/drawing/2014/main" id="{41EB1968-BB5A-42F9-9703-6D5DEF87D625}"/>
              </a:ext>
            </a:extLst>
          </p:cNvPr>
          <p:cNvSpPr/>
          <p:nvPr/>
        </p:nvSpPr>
        <p:spPr>
          <a:xfrm flipH="1">
            <a:off x="8504059" y="597733"/>
            <a:ext cx="287430" cy="287430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0F0E4B47-C0F6-4C18-8BB2-6ADF9C9B7502}"/>
              </a:ext>
            </a:extLst>
          </p:cNvPr>
          <p:cNvSpPr txBox="1"/>
          <p:nvPr/>
        </p:nvSpPr>
        <p:spPr>
          <a:xfrm>
            <a:off x="8910592" y="155248"/>
            <a:ext cx="3142574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b="1" dirty="0">
                <a:solidFill>
                  <a:schemeClr val="accent1">
                    <a:lumMod val="75000"/>
                  </a:schemeClr>
                </a:solidFill>
              </a:rPr>
              <a:t>+ OR – SEASONAL LEAD TIM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16D71225-67D9-4D2D-8C1D-31216784E68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899" y="5866267"/>
            <a:ext cx="830596" cy="855208"/>
          </a:xfrm>
          <a:prstGeom prst="rect">
            <a:avLst/>
          </a:prstGeom>
        </p:spPr>
      </p:pic>
      <p:sp>
        <p:nvSpPr>
          <p:cNvPr id="14" name="Oval 13">
            <a:extLst>
              <a:ext uri="{FF2B5EF4-FFF2-40B4-BE49-F238E27FC236}">
                <a16:creationId xmlns:a16="http://schemas.microsoft.com/office/drawing/2014/main" id="{6585A6A0-70F8-4153-9263-47D527D42105}"/>
              </a:ext>
            </a:extLst>
          </p:cNvPr>
          <p:cNvSpPr/>
          <p:nvPr/>
        </p:nvSpPr>
        <p:spPr>
          <a:xfrm flipH="1">
            <a:off x="8504059" y="1060300"/>
            <a:ext cx="287430" cy="287430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1A599B6-8ABE-427A-8EF7-FDDFF372C5F2}"/>
              </a:ext>
            </a:extLst>
          </p:cNvPr>
          <p:cNvSpPr txBox="1"/>
          <p:nvPr/>
        </p:nvSpPr>
        <p:spPr>
          <a:xfrm>
            <a:off x="8910592" y="617815"/>
            <a:ext cx="25146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b="1" dirty="0">
                <a:solidFill>
                  <a:schemeClr val="accent2">
                    <a:lumMod val="75000"/>
                  </a:schemeClr>
                </a:solidFill>
              </a:rPr>
              <a:t>PUT AWAY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9425315-212E-4624-8E4A-54B4CCE99806}"/>
              </a:ext>
            </a:extLst>
          </p:cNvPr>
          <p:cNvSpPr txBox="1"/>
          <p:nvPr/>
        </p:nvSpPr>
        <p:spPr>
          <a:xfrm>
            <a:off x="8910591" y="1060300"/>
            <a:ext cx="314257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UPPLIER DELIV PERFORMANC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C7C8830-D242-4F73-BEBA-11E56D3D4CE2}"/>
              </a:ext>
            </a:extLst>
          </p:cNvPr>
          <p:cNvSpPr txBox="1"/>
          <p:nvPr/>
        </p:nvSpPr>
        <p:spPr>
          <a:xfrm rot="16200000">
            <a:off x="-585173" y="1335604"/>
            <a:ext cx="251460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>
                <a:solidFill>
                  <a:schemeClr val="accent1"/>
                </a:solidFill>
              </a:rPr>
              <a:t>SEASONAL Lt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FBA04E1-E5D2-4298-AEC8-F98C4560E85E}"/>
              </a:ext>
            </a:extLst>
          </p:cNvPr>
          <p:cNvSpPr txBox="1"/>
          <p:nvPr/>
        </p:nvSpPr>
        <p:spPr>
          <a:xfrm rot="16200000">
            <a:off x="-640521" y="1964022"/>
            <a:ext cx="314257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>
                <a:solidFill>
                  <a:schemeClr val="accent2">
                    <a:lumMod val="75000"/>
                  </a:schemeClr>
                </a:solidFill>
              </a:rPr>
              <a:t>PUT AWAY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2EB5FD9-CD6E-4C9E-8D00-D0ED67F978CC}"/>
              </a:ext>
            </a:extLst>
          </p:cNvPr>
          <p:cNvSpPr txBox="1"/>
          <p:nvPr/>
        </p:nvSpPr>
        <p:spPr>
          <a:xfrm rot="16200000">
            <a:off x="-47646" y="2065519"/>
            <a:ext cx="251460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>
                <a:solidFill>
                  <a:schemeClr val="bg1">
                    <a:lumMod val="50000"/>
                  </a:schemeClr>
                </a:solidFill>
              </a:rPr>
              <a:t>SUPPLIER DELIVERY PERF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7A82BF4-5792-43A3-A8C9-6CB57B010244}"/>
              </a:ext>
            </a:extLst>
          </p:cNvPr>
          <p:cNvSpPr/>
          <p:nvPr/>
        </p:nvSpPr>
        <p:spPr>
          <a:xfrm>
            <a:off x="2512464" y="4136589"/>
            <a:ext cx="940037" cy="199877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2C1C7B1-8267-453D-9386-D2F1669B909D}"/>
              </a:ext>
            </a:extLst>
          </p:cNvPr>
          <p:cNvSpPr/>
          <p:nvPr/>
        </p:nvSpPr>
        <p:spPr>
          <a:xfrm>
            <a:off x="338984" y="0"/>
            <a:ext cx="1207805" cy="1577589"/>
          </a:xfrm>
          <a:prstGeom prst="rect">
            <a:avLst/>
          </a:prstGeom>
          <a:solidFill>
            <a:schemeClr val="accent5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E9EBBB9-F4DB-4586-8359-BE8C4333F0F7}"/>
              </a:ext>
            </a:extLst>
          </p:cNvPr>
          <p:cNvSpPr txBox="1"/>
          <p:nvPr/>
        </p:nvSpPr>
        <p:spPr>
          <a:xfrm>
            <a:off x="18815" y="86259"/>
            <a:ext cx="1848142" cy="123110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8000" dirty="0">
                <a:solidFill>
                  <a:schemeClr val="bg1"/>
                </a:solidFill>
                <a:latin typeface="Bahnschrift" panose="020B0502040204020203" pitchFamily="34" charset="0"/>
                <a:cs typeface="Segoe UI Semibold" panose="020B0702040204020203" pitchFamily="34" charset="0"/>
              </a:rPr>
              <a:t>B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5769468-F605-40AA-9A96-50845A5E0EE1}"/>
              </a:ext>
            </a:extLst>
          </p:cNvPr>
          <p:cNvSpPr txBox="1"/>
          <p:nvPr/>
        </p:nvSpPr>
        <p:spPr>
          <a:xfrm>
            <a:off x="180898" y="1313272"/>
            <a:ext cx="1528261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  <a:latin typeface="+mj-lt"/>
                <a:cs typeface="Segoe UI Semibold" panose="020B0702040204020203" pitchFamily="34" charset="0"/>
              </a:rPr>
              <a:t>BENCHMARK</a:t>
            </a:r>
          </a:p>
        </p:txBody>
      </p:sp>
    </p:spTree>
    <p:extLst>
      <p:ext uri="{BB962C8B-B14F-4D97-AF65-F5344CB8AC3E}">
        <p14:creationId xmlns:p14="http://schemas.microsoft.com/office/powerpoint/2010/main" val="221490203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2072424-5D56-4214-9B0E-115C1E9D580C}"/>
              </a:ext>
            </a:extLst>
          </p:cNvPr>
          <p:cNvSpPr/>
          <p:nvPr/>
        </p:nvSpPr>
        <p:spPr>
          <a:xfrm>
            <a:off x="1166948" y="6448197"/>
            <a:ext cx="10013044" cy="181203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A4CCC08-A329-477A-B80B-2665F19C7039}"/>
              </a:ext>
            </a:extLst>
          </p:cNvPr>
          <p:cNvSpPr/>
          <p:nvPr/>
        </p:nvSpPr>
        <p:spPr>
          <a:xfrm>
            <a:off x="11267076" y="6448197"/>
            <a:ext cx="924923" cy="18120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16D71225-67D9-4D2D-8C1D-31216784E68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899" y="5866267"/>
            <a:ext cx="830596" cy="855208"/>
          </a:xfrm>
          <a:prstGeom prst="rect">
            <a:avLst/>
          </a:prstGeom>
        </p:spPr>
      </p:pic>
      <p:sp>
        <p:nvSpPr>
          <p:cNvPr id="47" name="TextBox 46">
            <a:extLst>
              <a:ext uri="{FF2B5EF4-FFF2-40B4-BE49-F238E27FC236}">
                <a16:creationId xmlns:a16="http://schemas.microsoft.com/office/drawing/2014/main" id="{87B0EF8F-84A4-4881-8E39-810382893B81}"/>
              </a:ext>
            </a:extLst>
          </p:cNvPr>
          <p:cNvSpPr txBox="1"/>
          <p:nvPr/>
        </p:nvSpPr>
        <p:spPr>
          <a:xfrm>
            <a:off x="1770229" y="309080"/>
            <a:ext cx="2518991" cy="123110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4000" dirty="0">
                <a:solidFill>
                  <a:schemeClr val="tx1">
                    <a:lumMod val="65000"/>
                    <a:lumOff val="35000"/>
                  </a:schemeClr>
                </a:solidFill>
                <a:latin typeface="Bahnschrift" panose="020B0502040204020203" pitchFamily="34" charset="0"/>
                <a:cs typeface="Segoe UI Semibold" panose="020B0702040204020203" pitchFamily="34" charset="0"/>
              </a:rPr>
              <a:t>LEAD </a:t>
            </a:r>
          </a:p>
          <a:p>
            <a:pPr algn="ctr"/>
            <a:r>
              <a:rPr lang="en-US" sz="4000" dirty="0">
                <a:solidFill>
                  <a:schemeClr val="tx1">
                    <a:lumMod val="65000"/>
                    <a:lumOff val="35000"/>
                  </a:schemeClr>
                </a:solidFill>
                <a:latin typeface="Bahnschrift" panose="020B0502040204020203" pitchFamily="34" charset="0"/>
                <a:cs typeface="Segoe UI Semibold" panose="020B0702040204020203" pitchFamily="34" charset="0"/>
              </a:rPr>
              <a:t>TIM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212C3CA-411A-4E3B-BE52-C50F24B54FC9}"/>
              </a:ext>
            </a:extLst>
          </p:cNvPr>
          <p:cNvSpPr/>
          <p:nvPr/>
        </p:nvSpPr>
        <p:spPr>
          <a:xfrm>
            <a:off x="338984" y="0"/>
            <a:ext cx="1207805" cy="1577589"/>
          </a:xfrm>
          <a:prstGeom prst="rect">
            <a:avLst/>
          </a:prstGeom>
          <a:solidFill>
            <a:schemeClr val="tx1">
              <a:lumMod val="75000"/>
              <a:lumOff val="25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BCD018B-D8AB-4BCC-B62C-EEE73E8ACA38}"/>
              </a:ext>
            </a:extLst>
          </p:cNvPr>
          <p:cNvSpPr txBox="1"/>
          <p:nvPr/>
        </p:nvSpPr>
        <p:spPr>
          <a:xfrm>
            <a:off x="18815" y="86259"/>
            <a:ext cx="1848142" cy="123110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8000" dirty="0">
                <a:solidFill>
                  <a:schemeClr val="bg1"/>
                </a:solidFill>
                <a:latin typeface="Bahnschrift" panose="020B0502040204020203" pitchFamily="34" charset="0"/>
                <a:cs typeface="Segoe UI Semibold" panose="020B0702040204020203" pitchFamily="34" charset="0"/>
              </a:rPr>
              <a:t>A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1B6E99D-EEAE-4FE8-B7C6-047ADEBE2AFF}"/>
              </a:ext>
            </a:extLst>
          </p:cNvPr>
          <p:cNvSpPr txBox="1"/>
          <p:nvPr/>
        </p:nvSpPr>
        <p:spPr>
          <a:xfrm>
            <a:off x="180898" y="1313272"/>
            <a:ext cx="1528261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  <a:latin typeface="+mj-lt"/>
                <a:cs typeface="Segoe UI Semibold" panose="020B0702040204020203" pitchFamily="34" charset="0"/>
              </a:rPr>
              <a:t>ANALYTICS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E05B69F5-E772-4D37-A3AA-F165A56A63A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49928" y="2999575"/>
            <a:ext cx="10148971" cy="2761784"/>
          </a:xfrm>
          <a:prstGeom prst="rect">
            <a:avLst/>
          </a:prstGeom>
          <a:ln w="28575">
            <a:solidFill>
              <a:schemeClr val="bg1">
                <a:lumMod val="65000"/>
              </a:schemeClr>
            </a:solidFill>
          </a:ln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92958AE6-A7A2-458A-98A9-EFA04F208F66}"/>
              </a:ext>
            </a:extLst>
          </p:cNvPr>
          <p:cNvSpPr/>
          <p:nvPr/>
        </p:nvSpPr>
        <p:spPr>
          <a:xfrm>
            <a:off x="4492251" y="687779"/>
            <a:ext cx="1671390" cy="780593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7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F34029D-B6BC-47F4-9098-B6A29E6A0075}"/>
              </a:ext>
            </a:extLst>
          </p:cNvPr>
          <p:cNvSpPr/>
          <p:nvPr/>
        </p:nvSpPr>
        <p:spPr>
          <a:xfrm>
            <a:off x="6304003" y="685902"/>
            <a:ext cx="1671391" cy="780593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7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5569770-ADFD-40A5-9C32-4BCD21F41792}"/>
              </a:ext>
            </a:extLst>
          </p:cNvPr>
          <p:cNvSpPr txBox="1"/>
          <p:nvPr/>
        </p:nvSpPr>
        <p:spPr>
          <a:xfrm>
            <a:off x="4415614" y="746785"/>
            <a:ext cx="190673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b="1" dirty="0">
                <a:solidFill>
                  <a:srgbClr val="82C836"/>
                </a:solidFill>
              </a:rPr>
              <a:t>LEAD TIME DEL L7D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F190743-1013-46D5-A247-E8B1849380E1}"/>
              </a:ext>
            </a:extLst>
          </p:cNvPr>
          <p:cNvSpPr txBox="1"/>
          <p:nvPr/>
        </p:nvSpPr>
        <p:spPr>
          <a:xfrm>
            <a:off x="6129732" y="753299"/>
            <a:ext cx="190673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b="1" dirty="0">
                <a:solidFill>
                  <a:srgbClr val="82C836"/>
                </a:solidFill>
              </a:rPr>
              <a:t>UPCOMING SEASON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86E085F-ED5B-40EF-9C29-893B3D009C6E}"/>
              </a:ext>
            </a:extLst>
          </p:cNvPr>
          <p:cNvSpPr/>
          <p:nvPr/>
        </p:nvSpPr>
        <p:spPr>
          <a:xfrm>
            <a:off x="8115756" y="685902"/>
            <a:ext cx="1671390" cy="780593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7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4AFADB0-BA86-4967-B7D6-297D7DA62EAC}"/>
              </a:ext>
            </a:extLst>
          </p:cNvPr>
          <p:cNvSpPr/>
          <p:nvPr/>
        </p:nvSpPr>
        <p:spPr>
          <a:xfrm>
            <a:off x="9927508" y="684025"/>
            <a:ext cx="1671391" cy="780593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7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DA4D99D-7369-4378-A5F6-16639BAB5964}"/>
              </a:ext>
            </a:extLst>
          </p:cNvPr>
          <p:cNvSpPr txBox="1"/>
          <p:nvPr/>
        </p:nvSpPr>
        <p:spPr>
          <a:xfrm>
            <a:off x="8039119" y="744908"/>
            <a:ext cx="190673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b="1" dirty="0">
                <a:solidFill>
                  <a:srgbClr val="82C836"/>
                </a:solidFill>
              </a:rPr>
              <a:t>SUPP SERV L7D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C95A4A8-ED1B-4CA3-B930-1D770B572F0C}"/>
              </a:ext>
            </a:extLst>
          </p:cNvPr>
          <p:cNvSpPr txBox="1"/>
          <p:nvPr/>
        </p:nvSpPr>
        <p:spPr>
          <a:xfrm>
            <a:off x="9753237" y="751422"/>
            <a:ext cx="190673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b="1" dirty="0">
                <a:solidFill>
                  <a:srgbClr val="82C836"/>
                </a:solidFill>
              </a:rPr>
              <a:t>PUTAWAY L7D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9E75F92-2673-42E0-84B0-19436E5C08EF}"/>
              </a:ext>
            </a:extLst>
          </p:cNvPr>
          <p:cNvSpPr/>
          <p:nvPr/>
        </p:nvSpPr>
        <p:spPr>
          <a:xfrm>
            <a:off x="4492251" y="1541238"/>
            <a:ext cx="1671390" cy="780593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7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790C314-5538-442A-B87D-C7AD3E528000}"/>
              </a:ext>
            </a:extLst>
          </p:cNvPr>
          <p:cNvSpPr/>
          <p:nvPr/>
        </p:nvSpPr>
        <p:spPr>
          <a:xfrm>
            <a:off x="8115756" y="1539361"/>
            <a:ext cx="1671390" cy="780593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7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6E4D294C-1C99-44CF-95E1-E25C2AE85A8B}"/>
              </a:ext>
            </a:extLst>
          </p:cNvPr>
          <p:cNvSpPr/>
          <p:nvPr/>
        </p:nvSpPr>
        <p:spPr>
          <a:xfrm>
            <a:off x="9927508" y="1537484"/>
            <a:ext cx="1671391" cy="780593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7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EFC278A-4380-4515-866D-B57F44EA9C6E}"/>
              </a:ext>
            </a:extLst>
          </p:cNvPr>
          <p:cNvSpPr txBox="1"/>
          <p:nvPr/>
        </p:nvSpPr>
        <p:spPr>
          <a:xfrm>
            <a:off x="4512968" y="404185"/>
            <a:ext cx="348314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EAD TIME DELIVERY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FE65E291-65DA-4AA2-9E08-60924185B284}"/>
              </a:ext>
            </a:extLst>
          </p:cNvPr>
          <p:cNvSpPr txBox="1"/>
          <p:nvPr/>
        </p:nvSpPr>
        <p:spPr>
          <a:xfrm>
            <a:off x="8115756" y="411214"/>
            <a:ext cx="1692108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UPPLIER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AC78601B-5466-4035-998A-EE92EF7A647D}"/>
              </a:ext>
            </a:extLst>
          </p:cNvPr>
          <p:cNvSpPr txBox="1"/>
          <p:nvPr/>
        </p:nvSpPr>
        <p:spPr>
          <a:xfrm>
            <a:off x="9927508" y="419005"/>
            <a:ext cx="1671391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PERATIONS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8AC956B1-EE2A-48E9-BC7F-BDEA963D8287}"/>
              </a:ext>
            </a:extLst>
          </p:cNvPr>
          <p:cNvSpPr txBox="1"/>
          <p:nvPr/>
        </p:nvSpPr>
        <p:spPr>
          <a:xfrm>
            <a:off x="4474185" y="1573759"/>
            <a:ext cx="190673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b="1" dirty="0">
                <a:solidFill>
                  <a:srgbClr val="82C836"/>
                </a:solidFill>
              </a:rPr>
              <a:t>LEAD TIME DEL L30D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CC67298E-5207-4C03-90E3-EB176A1C024E}"/>
              </a:ext>
            </a:extLst>
          </p:cNvPr>
          <p:cNvSpPr txBox="1"/>
          <p:nvPr/>
        </p:nvSpPr>
        <p:spPr>
          <a:xfrm>
            <a:off x="8097690" y="1571882"/>
            <a:ext cx="190673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b="1" dirty="0">
                <a:solidFill>
                  <a:srgbClr val="82C836"/>
                </a:solidFill>
              </a:rPr>
              <a:t>SUPP SERV L30D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79ACA2E5-BE94-44A7-B193-5BC9B9FE7753}"/>
              </a:ext>
            </a:extLst>
          </p:cNvPr>
          <p:cNvSpPr txBox="1"/>
          <p:nvPr/>
        </p:nvSpPr>
        <p:spPr>
          <a:xfrm>
            <a:off x="9811808" y="1578396"/>
            <a:ext cx="190673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b="1" dirty="0">
                <a:solidFill>
                  <a:srgbClr val="82C836"/>
                </a:solidFill>
              </a:rPr>
              <a:t>PUTAWAY L30D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F83A3364-192D-401C-9B70-D841F5F4E8FB}"/>
              </a:ext>
            </a:extLst>
          </p:cNvPr>
          <p:cNvSpPr txBox="1"/>
          <p:nvPr/>
        </p:nvSpPr>
        <p:spPr>
          <a:xfrm>
            <a:off x="4650309" y="948245"/>
            <a:ext cx="135527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800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18.1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D</a:t>
            </a:r>
            <a:endParaRPr lang="en-US" sz="2800" dirty="0">
              <a:solidFill>
                <a:schemeClr val="bg1">
                  <a:lumMod val="50000"/>
                </a:schemeClr>
              </a:solidFill>
              <a:latin typeface="Bahnschrift" panose="020B0502040204020203" pitchFamily="34" charset="0"/>
              <a:cs typeface="Calibri" panose="020F0502020204030204" pitchFamily="34" charset="0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4BAEE234-331E-4EA7-8F0A-99CDA2676715}"/>
              </a:ext>
            </a:extLst>
          </p:cNvPr>
          <p:cNvSpPr txBox="1"/>
          <p:nvPr/>
        </p:nvSpPr>
        <p:spPr>
          <a:xfrm>
            <a:off x="6404211" y="942548"/>
            <a:ext cx="1483557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800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+2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D</a:t>
            </a:r>
            <a:endParaRPr lang="en-US" sz="2800" dirty="0">
              <a:solidFill>
                <a:schemeClr val="bg1">
                  <a:lumMod val="50000"/>
                </a:schemeClr>
              </a:solidFill>
              <a:latin typeface="Bahnschrift" panose="020B0502040204020203" pitchFamily="34" charset="0"/>
              <a:cs typeface="Calibri" panose="020F0502020204030204" pitchFamily="34" charset="0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3A3E9CBA-947E-4AE6-86BC-97FEFBC0F77A}"/>
              </a:ext>
            </a:extLst>
          </p:cNvPr>
          <p:cNvSpPr txBox="1"/>
          <p:nvPr/>
        </p:nvSpPr>
        <p:spPr>
          <a:xfrm>
            <a:off x="10051625" y="942548"/>
            <a:ext cx="1391193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800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1.2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D</a:t>
            </a:r>
            <a:endParaRPr lang="en-US" sz="2800" dirty="0">
              <a:solidFill>
                <a:schemeClr val="bg1">
                  <a:lumMod val="50000"/>
                </a:schemeClr>
              </a:solidFill>
              <a:latin typeface="Bahnschrift" panose="020B0502040204020203" pitchFamily="34" charset="0"/>
              <a:cs typeface="Calibri" panose="020F0502020204030204" pitchFamily="34" charset="0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3692D59A-8007-41C7-8FF5-AE036A712D27}"/>
              </a:ext>
            </a:extLst>
          </p:cNvPr>
          <p:cNvSpPr txBox="1"/>
          <p:nvPr/>
        </p:nvSpPr>
        <p:spPr>
          <a:xfrm>
            <a:off x="8176826" y="942548"/>
            <a:ext cx="153477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800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90.5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%</a:t>
            </a:r>
            <a:endParaRPr lang="en-US" sz="2800" dirty="0">
              <a:solidFill>
                <a:schemeClr val="bg1">
                  <a:lumMod val="50000"/>
                </a:schemeClr>
              </a:solidFill>
              <a:latin typeface="Bahnschrift" panose="020B0502040204020203" pitchFamily="34" charset="0"/>
              <a:cs typeface="Calibri" panose="020F0502020204030204" pitchFamily="34" charset="0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E2C78CC3-DD4A-45E0-A1DF-8597137F1488}"/>
              </a:ext>
            </a:extLst>
          </p:cNvPr>
          <p:cNvSpPr txBox="1"/>
          <p:nvPr/>
        </p:nvSpPr>
        <p:spPr>
          <a:xfrm>
            <a:off x="4650309" y="1793483"/>
            <a:ext cx="135527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800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16.2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D</a:t>
            </a:r>
            <a:endParaRPr lang="en-US" sz="2800" dirty="0">
              <a:solidFill>
                <a:schemeClr val="bg1">
                  <a:lumMod val="50000"/>
                </a:schemeClr>
              </a:solidFill>
              <a:latin typeface="Bahnschrift" panose="020B0502040204020203" pitchFamily="34" charset="0"/>
              <a:cs typeface="Calibri" panose="020F0502020204030204" pitchFamily="34" charset="0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FED0DC1F-DB6B-4848-9309-18EF83DD7800}"/>
              </a:ext>
            </a:extLst>
          </p:cNvPr>
          <p:cNvSpPr txBox="1"/>
          <p:nvPr/>
        </p:nvSpPr>
        <p:spPr>
          <a:xfrm>
            <a:off x="10051625" y="1787786"/>
            <a:ext cx="1391193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800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.5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D</a:t>
            </a:r>
            <a:endParaRPr lang="en-US" sz="2800" dirty="0">
              <a:solidFill>
                <a:schemeClr val="bg1">
                  <a:lumMod val="50000"/>
                </a:schemeClr>
              </a:solidFill>
              <a:latin typeface="Bahnschrift" panose="020B0502040204020203" pitchFamily="34" charset="0"/>
              <a:cs typeface="Calibri" panose="020F0502020204030204" pitchFamily="34" charset="0"/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2D1FDE85-7C2C-4AD7-BA46-6C313854A187}"/>
              </a:ext>
            </a:extLst>
          </p:cNvPr>
          <p:cNvSpPr txBox="1"/>
          <p:nvPr/>
        </p:nvSpPr>
        <p:spPr>
          <a:xfrm>
            <a:off x="8176826" y="1787786"/>
            <a:ext cx="153477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800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93.0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%</a:t>
            </a:r>
            <a:endParaRPr lang="en-US" sz="2800" dirty="0">
              <a:solidFill>
                <a:schemeClr val="bg1">
                  <a:lumMod val="50000"/>
                </a:schemeClr>
              </a:solidFill>
              <a:latin typeface="Bahnschrift" panose="020B0502040204020203" pitchFamily="34" charset="0"/>
              <a:cs typeface="Calibri" panose="020F0502020204030204" pitchFamily="34" charset="0"/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21B773C9-0A2A-4D6D-840A-6BA5769DB71F}"/>
              </a:ext>
            </a:extLst>
          </p:cNvPr>
          <p:cNvSpPr txBox="1"/>
          <p:nvPr/>
        </p:nvSpPr>
        <p:spPr>
          <a:xfrm>
            <a:off x="1449928" y="2585751"/>
            <a:ext cx="405282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4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ERFORMANCE</a:t>
            </a:r>
          </a:p>
        </p:txBody>
      </p:sp>
    </p:spTree>
    <p:extLst>
      <p:ext uri="{BB962C8B-B14F-4D97-AF65-F5344CB8AC3E}">
        <p14:creationId xmlns:p14="http://schemas.microsoft.com/office/powerpoint/2010/main" val="198538004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E5B24B26-F498-479A-9712-3BC24141A4F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135743"/>
            <a:ext cx="10630968" cy="4586514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6501E917-7666-4006-A5F2-1CF1AD5A3080}"/>
              </a:ext>
            </a:extLst>
          </p:cNvPr>
          <p:cNvSpPr/>
          <p:nvPr/>
        </p:nvSpPr>
        <p:spPr>
          <a:xfrm>
            <a:off x="1061666" y="0"/>
            <a:ext cx="4267200" cy="5722257"/>
          </a:xfrm>
          <a:prstGeom prst="rect">
            <a:avLst/>
          </a:prstGeom>
          <a:solidFill>
            <a:schemeClr val="accent5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51BDE8C-C874-4027-92B6-106F8C9E07A1}"/>
              </a:ext>
            </a:extLst>
          </p:cNvPr>
          <p:cNvSpPr txBox="1"/>
          <p:nvPr/>
        </p:nvSpPr>
        <p:spPr>
          <a:xfrm>
            <a:off x="758812" y="1135743"/>
            <a:ext cx="4871103" cy="87716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5700" dirty="0">
                <a:solidFill>
                  <a:schemeClr val="bg1"/>
                </a:solidFill>
                <a:latin typeface="Bahnschrift" panose="020B0502040204020203" pitchFamily="34" charset="0"/>
                <a:cs typeface="Segoe UI Semibold" panose="020B0702040204020203" pitchFamily="34" charset="0"/>
              </a:rPr>
              <a:t>OPERATION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95C6E24-78F5-4A39-BCCB-8CBB84BD360F}"/>
              </a:ext>
            </a:extLst>
          </p:cNvPr>
          <p:cNvSpPr txBox="1"/>
          <p:nvPr/>
        </p:nvSpPr>
        <p:spPr>
          <a:xfrm>
            <a:off x="1060764" y="3006218"/>
            <a:ext cx="4267200" cy="1354217"/>
          </a:xfrm>
          <a:prstGeom prst="rect">
            <a:avLst/>
          </a:prstGeom>
          <a:noFill/>
          <a:effectLst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4400" dirty="0">
                <a:solidFill>
                  <a:schemeClr val="bg1"/>
                </a:solidFill>
                <a:effectLst/>
                <a:latin typeface="Bahnschrift" panose="020B0502040204020203" pitchFamily="34" charset="0"/>
                <a:cs typeface="Segoe UI Semibold" panose="020B0702040204020203" pitchFamily="34" charset="0"/>
              </a:rPr>
              <a:t>Key Values</a:t>
            </a:r>
          </a:p>
          <a:p>
            <a:pPr algn="ctr"/>
            <a:r>
              <a:rPr lang="en-US" sz="4400" dirty="0">
                <a:solidFill>
                  <a:schemeClr val="bg1"/>
                </a:solidFill>
                <a:effectLst/>
                <a:latin typeface="Bahnschrift" panose="020B0502040204020203" pitchFamily="34" charset="0"/>
                <a:cs typeface="Segoe UI Semibold" panose="020B0702040204020203" pitchFamily="34" charset="0"/>
              </a:rPr>
              <a:t>&amp; Benchmark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341511F-C7A8-437C-B959-7D1E8199791D}"/>
              </a:ext>
            </a:extLst>
          </p:cNvPr>
          <p:cNvSpPr txBox="1"/>
          <p:nvPr/>
        </p:nvSpPr>
        <p:spPr>
          <a:xfrm>
            <a:off x="-1" y="106207"/>
            <a:ext cx="1060765" cy="92333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6000" dirty="0">
                <a:solidFill>
                  <a:schemeClr val="accent1"/>
                </a:solidFill>
                <a:latin typeface="Bahnschrift" panose="020B0502040204020203" pitchFamily="34" charset="0"/>
                <a:cs typeface="Segoe UI Semibold" panose="020B0702040204020203" pitchFamily="34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10847915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312A073-2E64-4525-A8A1-0172760C1973}"/>
              </a:ext>
            </a:extLst>
          </p:cNvPr>
          <p:cNvSpPr/>
          <p:nvPr/>
        </p:nvSpPr>
        <p:spPr>
          <a:xfrm>
            <a:off x="0" y="1905712"/>
            <a:ext cx="12103694" cy="380287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2072424-5D56-4214-9B0E-115C1E9D580C}"/>
              </a:ext>
            </a:extLst>
          </p:cNvPr>
          <p:cNvSpPr/>
          <p:nvPr/>
        </p:nvSpPr>
        <p:spPr>
          <a:xfrm>
            <a:off x="1166948" y="6448197"/>
            <a:ext cx="10013044" cy="181203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A4CCC08-A329-477A-B80B-2665F19C7039}"/>
              </a:ext>
            </a:extLst>
          </p:cNvPr>
          <p:cNvSpPr/>
          <p:nvPr/>
        </p:nvSpPr>
        <p:spPr>
          <a:xfrm>
            <a:off x="11267076" y="6448197"/>
            <a:ext cx="924923" cy="18120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67" name="Chart 66">
            <a:extLst>
              <a:ext uri="{FF2B5EF4-FFF2-40B4-BE49-F238E27FC236}">
                <a16:creationId xmlns:a16="http://schemas.microsoft.com/office/drawing/2014/main" id="{E4D9C660-107C-4AC7-916B-10D838F43C2C}"/>
              </a:ext>
            </a:extLst>
          </p:cNvPr>
          <p:cNvGraphicFramePr/>
          <p:nvPr/>
        </p:nvGraphicFramePr>
        <p:xfrm>
          <a:off x="88306" y="2040966"/>
          <a:ext cx="11764711" cy="35854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Oval 6">
            <a:extLst>
              <a:ext uri="{FF2B5EF4-FFF2-40B4-BE49-F238E27FC236}">
                <a16:creationId xmlns:a16="http://schemas.microsoft.com/office/drawing/2014/main" id="{F79B8CEC-F69E-4D64-98CF-8450FC7EBD5C}"/>
              </a:ext>
            </a:extLst>
          </p:cNvPr>
          <p:cNvSpPr/>
          <p:nvPr/>
        </p:nvSpPr>
        <p:spPr>
          <a:xfrm flipH="1">
            <a:off x="8491948" y="121226"/>
            <a:ext cx="287430" cy="287430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66A8FF45-3B64-42A3-BA6E-75DEDCB0DE0C}"/>
              </a:ext>
            </a:extLst>
          </p:cNvPr>
          <p:cNvSpPr txBox="1"/>
          <p:nvPr/>
        </p:nvSpPr>
        <p:spPr>
          <a:xfrm>
            <a:off x="8961120" y="141511"/>
            <a:ext cx="25146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b="1" dirty="0">
                <a:solidFill>
                  <a:schemeClr val="accent1"/>
                </a:solidFill>
              </a:rPr>
              <a:t>VENDOR ORDER CYCLE</a:t>
            </a:r>
          </a:p>
        </p:txBody>
      </p:sp>
      <p:sp>
        <p:nvSpPr>
          <p:cNvPr id="73" name="Oval 72">
            <a:extLst>
              <a:ext uri="{FF2B5EF4-FFF2-40B4-BE49-F238E27FC236}">
                <a16:creationId xmlns:a16="http://schemas.microsoft.com/office/drawing/2014/main" id="{41EB1968-BB5A-42F9-9703-6D5DEF87D625}"/>
              </a:ext>
            </a:extLst>
          </p:cNvPr>
          <p:cNvSpPr/>
          <p:nvPr/>
        </p:nvSpPr>
        <p:spPr>
          <a:xfrm flipH="1">
            <a:off x="8504059" y="597733"/>
            <a:ext cx="287430" cy="287430"/>
          </a:xfrm>
          <a:prstGeom prst="ellipse">
            <a:avLst/>
          </a:prstGeom>
          <a:solidFill>
            <a:srgbClr val="9BC41D"/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0F0E4B47-C0F6-4C18-8BB2-6ADF9C9B7502}"/>
              </a:ext>
            </a:extLst>
          </p:cNvPr>
          <p:cNvSpPr txBox="1"/>
          <p:nvPr/>
        </p:nvSpPr>
        <p:spPr>
          <a:xfrm>
            <a:off x="8961120" y="618337"/>
            <a:ext cx="3142574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b="1" dirty="0">
                <a:solidFill>
                  <a:srgbClr val="9BC41D"/>
                </a:solidFill>
              </a:rPr>
              <a:t>ITEM EFFECTIVE ORDER CYCL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16D71225-67D9-4D2D-8C1D-31216784E68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899" y="5866267"/>
            <a:ext cx="830596" cy="855208"/>
          </a:xfrm>
          <a:prstGeom prst="rect">
            <a:avLst/>
          </a:prstGeom>
        </p:spPr>
      </p:pic>
      <p:sp>
        <p:nvSpPr>
          <p:cNvPr id="14" name="Oval 13">
            <a:extLst>
              <a:ext uri="{FF2B5EF4-FFF2-40B4-BE49-F238E27FC236}">
                <a16:creationId xmlns:a16="http://schemas.microsoft.com/office/drawing/2014/main" id="{6585A6A0-70F8-4153-9263-47D527D42105}"/>
              </a:ext>
            </a:extLst>
          </p:cNvPr>
          <p:cNvSpPr/>
          <p:nvPr/>
        </p:nvSpPr>
        <p:spPr>
          <a:xfrm flipH="1">
            <a:off x="8504059" y="1060300"/>
            <a:ext cx="287430" cy="287430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1A599B6-8ABE-427A-8EF7-FDDFF372C5F2}"/>
              </a:ext>
            </a:extLst>
          </p:cNvPr>
          <p:cNvSpPr txBox="1"/>
          <p:nvPr/>
        </p:nvSpPr>
        <p:spPr>
          <a:xfrm>
            <a:off x="8961120" y="1080904"/>
            <a:ext cx="25146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b="1" dirty="0">
                <a:solidFill>
                  <a:schemeClr val="bg1">
                    <a:lumMod val="50000"/>
                  </a:schemeClr>
                </a:solidFill>
              </a:rPr>
              <a:t>BUYING MULT DAYS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9A2036F6-3E45-4C87-A974-5610BB17A5D8}"/>
              </a:ext>
            </a:extLst>
          </p:cNvPr>
          <p:cNvSpPr/>
          <p:nvPr/>
        </p:nvSpPr>
        <p:spPr>
          <a:xfrm flipH="1">
            <a:off x="8504059" y="1502785"/>
            <a:ext cx="287430" cy="287430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9425315-212E-4624-8E4A-54B4CCE99806}"/>
              </a:ext>
            </a:extLst>
          </p:cNvPr>
          <p:cNvSpPr txBox="1"/>
          <p:nvPr/>
        </p:nvSpPr>
        <p:spPr>
          <a:xfrm>
            <a:off x="8961120" y="1523389"/>
            <a:ext cx="25146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DAYS ON HAND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C7C8830-D242-4F73-BEBA-11E56D3D4CE2}"/>
              </a:ext>
            </a:extLst>
          </p:cNvPr>
          <p:cNvSpPr txBox="1"/>
          <p:nvPr/>
        </p:nvSpPr>
        <p:spPr>
          <a:xfrm rot="16200000">
            <a:off x="-675725" y="2826855"/>
            <a:ext cx="251460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>
                <a:solidFill>
                  <a:schemeClr val="accent1"/>
                </a:solidFill>
              </a:rPr>
              <a:t>VENDOR ORDER CYCL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FBA04E1-E5D2-4298-AEC8-F98C4560E85E}"/>
              </a:ext>
            </a:extLst>
          </p:cNvPr>
          <p:cNvSpPr txBox="1"/>
          <p:nvPr/>
        </p:nvSpPr>
        <p:spPr>
          <a:xfrm rot="16200000">
            <a:off x="-754573" y="2148448"/>
            <a:ext cx="314257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>
                <a:solidFill>
                  <a:srgbClr val="9BC41D"/>
                </a:solidFill>
              </a:rPr>
              <a:t>ITEM EFFECTIVE ORDER CYCLE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2EB5FD9-CD6E-4C9E-8D00-D0ED67F978CC}"/>
              </a:ext>
            </a:extLst>
          </p:cNvPr>
          <p:cNvSpPr txBox="1"/>
          <p:nvPr/>
        </p:nvSpPr>
        <p:spPr>
          <a:xfrm rot="16200000">
            <a:off x="-208235" y="3221322"/>
            <a:ext cx="251460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>
                <a:solidFill>
                  <a:schemeClr val="bg1">
                    <a:lumMod val="50000"/>
                  </a:schemeClr>
                </a:solidFill>
              </a:rPr>
              <a:t>BUYING MULT DAY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452143D-D531-43F2-BD5C-41697D54FA4D}"/>
              </a:ext>
            </a:extLst>
          </p:cNvPr>
          <p:cNvSpPr txBox="1"/>
          <p:nvPr/>
        </p:nvSpPr>
        <p:spPr>
          <a:xfrm rot="16200000">
            <a:off x="13812" y="1964022"/>
            <a:ext cx="251460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DAYS ON HAND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F44A6AB-AF6E-4066-9651-D6FA8378A3A8}"/>
              </a:ext>
            </a:extLst>
          </p:cNvPr>
          <p:cNvSpPr/>
          <p:nvPr/>
        </p:nvSpPr>
        <p:spPr>
          <a:xfrm>
            <a:off x="2717562" y="5426579"/>
            <a:ext cx="940037" cy="199877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B0B0440-73CF-45C8-B261-1B570EBB01AE}"/>
              </a:ext>
            </a:extLst>
          </p:cNvPr>
          <p:cNvSpPr/>
          <p:nvPr/>
        </p:nvSpPr>
        <p:spPr>
          <a:xfrm>
            <a:off x="338984" y="0"/>
            <a:ext cx="1207805" cy="1577589"/>
          </a:xfrm>
          <a:prstGeom prst="rect">
            <a:avLst/>
          </a:prstGeom>
          <a:solidFill>
            <a:schemeClr val="accent5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90D0B72-4D1C-4621-A3F8-6DF1706976C6}"/>
              </a:ext>
            </a:extLst>
          </p:cNvPr>
          <p:cNvSpPr txBox="1"/>
          <p:nvPr/>
        </p:nvSpPr>
        <p:spPr>
          <a:xfrm>
            <a:off x="18815" y="86259"/>
            <a:ext cx="1848142" cy="123110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8000" dirty="0">
                <a:solidFill>
                  <a:schemeClr val="bg1"/>
                </a:solidFill>
                <a:latin typeface="Bahnschrift" panose="020B0502040204020203" pitchFamily="34" charset="0"/>
                <a:cs typeface="Segoe UI Semibold" panose="020B0702040204020203" pitchFamily="34" charset="0"/>
              </a:rPr>
              <a:t>B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0F20A95-6067-4ADE-BE82-906BFE38171C}"/>
              </a:ext>
            </a:extLst>
          </p:cNvPr>
          <p:cNvSpPr txBox="1"/>
          <p:nvPr/>
        </p:nvSpPr>
        <p:spPr>
          <a:xfrm>
            <a:off x="180898" y="1313272"/>
            <a:ext cx="1528261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  <a:latin typeface="+mj-lt"/>
                <a:cs typeface="Segoe UI Semibold" panose="020B0702040204020203" pitchFamily="34" charset="0"/>
              </a:rPr>
              <a:t>BENCHMARK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02A0B5E-6DC0-4581-B507-6985CA5ECE18}"/>
              </a:ext>
            </a:extLst>
          </p:cNvPr>
          <p:cNvSpPr txBox="1"/>
          <p:nvPr/>
        </p:nvSpPr>
        <p:spPr>
          <a:xfrm>
            <a:off x="2245696" y="271794"/>
            <a:ext cx="5363997" cy="61555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en-US" sz="4000" dirty="0">
                <a:solidFill>
                  <a:schemeClr val="tx1">
                    <a:lumMod val="65000"/>
                    <a:lumOff val="35000"/>
                  </a:schemeClr>
                </a:solidFill>
                <a:latin typeface="Bahnschrift" panose="020B0502040204020203" pitchFamily="34" charset="0"/>
                <a:cs typeface="Segoe UI Semibold" panose="020B0702040204020203" pitchFamily="34" charset="0"/>
              </a:rPr>
              <a:t>ORDER CYCLE</a:t>
            </a:r>
          </a:p>
        </p:txBody>
      </p:sp>
    </p:spTree>
    <p:extLst>
      <p:ext uri="{BB962C8B-B14F-4D97-AF65-F5344CB8AC3E}">
        <p14:creationId xmlns:p14="http://schemas.microsoft.com/office/powerpoint/2010/main" val="21758167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2072424-5D56-4214-9B0E-115C1E9D580C}"/>
              </a:ext>
            </a:extLst>
          </p:cNvPr>
          <p:cNvSpPr/>
          <p:nvPr/>
        </p:nvSpPr>
        <p:spPr>
          <a:xfrm>
            <a:off x="1166948" y="6448197"/>
            <a:ext cx="10013044" cy="181203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A4CCC08-A329-477A-B80B-2665F19C7039}"/>
              </a:ext>
            </a:extLst>
          </p:cNvPr>
          <p:cNvSpPr/>
          <p:nvPr/>
        </p:nvSpPr>
        <p:spPr>
          <a:xfrm>
            <a:off x="11267076" y="6448197"/>
            <a:ext cx="924923" cy="18120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E1CD0E2-CC0D-499F-9749-4EA83170CC35}"/>
              </a:ext>
            </a:extLst>
          </p:cNvPr>
          <p:cNvSpPr txBox="1"/>
          <p:nvPr/>
        </p:nvSpPr>
        <p:spPr>
          <a:xfrm>
            <a:off x="2245696" y="271794"/>
            <a:ext cx="5363997" cy="61555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en-US" sz="4000" dirty="0">
                <a:solidFill>
                  <a:schemeClr val="tx1">
                    <a:lumMod val="65000"/>
                    <a:lumOff val="35000"/>
                  </a:schemeClr>
                </a:solidFill>
                <a:latin typeface="Bahnschrift" panose="020B0502040204020203" pitchFamily="34" charset="0"/>
                <a:cs typeface="Segoe UI Semibold" panose="020B0702040204020203" pitchFamily="34" charset="0"/>
              </a:rPr>
              <a:t>ORDER CYCL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16D71225-67D9-4D2D-8C1D-31216784E68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899" y="5866267"/>
            <a:ext cx="830596" cy="855208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D9D3A3A1-706F-4ECC-AFD5-ECED6BC24412}"/>
              </a:ext>
            </a:extLst>
          </p:cNvPr>
          <p:cNvSpPr/>
          <p:nvPr/>
        </p:nvSpPr>
        <p:spPr>
          <a:xfrm>
            <a:off x="338984" y="0"/>
            <a:ext cx="1207805" cy="1577589"/>
          </a:xfrm>
          <a:prstGeom prst="rect">
            <a:avLst/>
          </a:prstGeom>
          <a:solidFill>
            <a:schemeClr val="tx1">
              <a:lumMod val="75000"/>
              <a:lumOff val="25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A5E2339-8CB2-4AAA-82D7-2098225BAEA0}"/>
              </a:ext>
            </a:extLst>
          </p:cNvPr>
          <p:cNvSpPr txBox="1"/>
          <p:nvPr/>
        </p:nvSpPr>
        <p:spPr>
          <a:xfrm>
            <a:off x="18815" y="86259"/>
            <a:ext cx="1848142" cy="123110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8000" dirty="0">
                <a:solidFill>
                  <a:schemeClr val="bg1"/>
                </a:solidFill>
                <a:latin typeface="Bahnschrift" panose="020B0502040204020203" pitchFamily="34" charset="0"/>
                <a:cs typeface="Segoe UI Semibold" panose="020B0702040204020203" pitchFamily="34" charset="0"/>
              </a:rPr>
              <a:t>A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6F240B5-CCD9-4AAA-8149-3A33B148C2C7}"/>
              </a:ext>
            </a:extLst>
          </p:cNvPr>
          <p:cNvSpPr txBox="1"/>
          <p:nvPr/>
        </p:nvSpPr>
        <p:spPr>
          <a:xfrm>
            <a:off x="180898" y="1313272"/>
            <a:ext cx="1528261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  <a:latin typeface="+mj-lt"/>
                <a:cs typeface="Segoe UI Semibold" panose="020B0702040204020203" pitchFamily="34" charset="0"/>
              </a:rPr>
              <a:t>ANALYTICS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C47D4D7A-6D70-4CCB-943B-220D3D9B486F}"/>
              </a:ext>
            </a:extLst>
          </p:cNvPr>
          <p:cNvSpPr/>
          <p:nvPr/>
        </p:nvSpPr>
        <p:spPr>
          <a:xfrm>
            <a:off x="2263763" y="1212259"/>
            <a:ext cx="1671390" cy="780593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7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EB26F413-3C16-41C6-94BA-618E8E14961D}"/>
              </a:ext>
            </a:extLst>
          </p:cNvPr>
          <p:cNvSpPr/>
          <p:nvPr/>
        </p:nvSpPr>
        <p:spPr>
          <a:xfrm>
            <a:off x="4075515" y="1210382"/>
            <a:ext cx="1671391" cy="780593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7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9264A676-2BFA-42F1-B754-C2506430208E}"/>
              </a:ext>
            </a:extLst>
          </p:cNvPr>
          <p:cNvSpPr txBox="1"/>
          <p:nvPr/>
        </p:nvSpPr>
        <p:spPr>
          <a:xfrm>
            <a:off x="2187126" y="1271265"/>
            <a:ext cx="190673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b="1" dirty="0">
                <a:solidFill>
                  <a:srgbClr val="C00000"/>
                </a:solidFill>
              </a:rPr>
              <a:t>EFF ORDER CYCLE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6C7C2657-DFA8-4C7B-81DD-DF5FAD7A1EA2}"/>
              </a:ext>
            </a:extLst>
          </p:cNvPr>
          <p:cNvSpPr txBox="1"/>
          <p:nvPr/>
        </p:nvSpPr>
        <p:spPr>
          <a:xfrm>
            <a:off x="4075514" y="1277779"/>
            <a:ext cx="173246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b="1" dirty="0">
                <a:solidFill>
                  <a:srgbClr val="C00000"/>
                </a:solidFill>
              </a:rPr>
              <a:t>VEN ORDER CYCLE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7350C119-BE59-44AC-8F51-2A99686D2878}"/>
              </a:ext>
            </a:extLst>
          </p:cNvPr>
          <p:cNvSpPr/>
          <p:nvPr/>
        </p:nvSpPr>
        <p:spPr>
          <a:xfrm>
            <a:off x="5887268" y="1210382"/>
            <a:ext cx="1671390" cy="780593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7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917DF1F6-11B6-4280-AD9A-FF9F8836972F}"/>
              </a:ext>
            </a:extLst>
          </p:cNvPr>
          <p:cNvSpPr/>
          <p:nvPr/>
        </p:nvSpPr>
        <p:spPr>
          <a:xfrm>
            <a:off x="7699020" y="1208505"/>
            <a:ext cx="1671391" cy="780593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7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DB90CB29-2425-4348-ADA7-12ABCF7B1918}"/>
              </a:ext>
            </a:extLst>
          </p:cNvPr>
          <p:cNvSpPr txBox="1"/>
          <p:nvPr/>
        </p:nvSpPr>
        <p:spPr>
          <a:xfrm>
            <a:off x="5810631" y="1269388"/>
            <a:ext cx="190673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b="1" dirty="0">
                <a:solidFill>
                  <a:srgbClr val="C00000"/>
                </a:solidFill>
              </a:rPr>
              <a:t>BUY MULT DAYS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615E6FFD-BB48-49FD-95CF-D40DCDC22F83}"/>
              </a:ext>
            </a:extLst>
          </p:cNvPr>
          <p:cNvSpPr txBox="1"/>
          <p:nvPr/>
        </p:nvSpPr>
        <p:spPr>
          <a:xfrm>
            <a:off x="7524749" y="1275902"/>
            <a:ext cx="190673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b="1" dirty="0">
                <a:solidFill>
                  <a:srgbClr val="C00000"/>
                </a:solidFill>
              </a:rPr>
              <a:t>ICYCLE &gt; VCYCLE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67E60344-A21B-48B4-86C0-A3DF804AC9AD}"/>
              </a:ext>
            </a:extLst>
          </p:cNvPr>
          <p:cNvSpPr/>
          <p:nvPr/>
        </p:nvSpPr>
        <p:spPr>
          <a:xfrm>
            <a:off x="2263763" y="2065718"/>
            <a:ext cx="1671390" cy="780593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7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6F104CA1-1E89-42A9-B4AA-DBE62240DAF2}"/>
              </a:ext>
            </a:extLst>
          </p:cNvPr>
          <p:cNvSpPr/>
          <p:nvPr/>
        </p:nvSpPr>
        <p:spPr>
          <a:xfrm>
            <a:off x="5887268" y="2063841"/>
            <a:ext cx="1671390" cy="780593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7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7580EDCA-FCB3-4526-974A-4EED64124A08}"/>
              </a:ext>
            </a:extLst>
          </p:cNvPr>
          <p:cNvSpPr/>
          <p:nvPr/>
        </p:nvSpPr>
        <p:spPr>
          <a:xfrm>
            <a:off x="7699020" y="2061964"/>
            <a:ext cx="1671391" cy="780593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7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29DD15C3-4372-48C4-B39E-6EFBBA30CFFB}"/>
              </a:ext>
            </a:extLst>
          </p:cNvPr>
          <p:cNvSpPr txBox="1"/>
          <p:nvPr/>
        </p:nvSpPr>
        <p:spPr>
          <a:xfrm>
            <a:off x="2245697" y="2098239"/>
            <a:ext cx="168945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b="1" dirty="0">
                <a:solidFill>
                  <a:srgbClr val="C00000"/>
                </a:solidFill>
              </a:rPr>
              <a:t>EXPECT LINES / YEAR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AB2EEB42-07EF-4B95-AF0C-062BA5CCCF41}"/>
              </a:ext>
            </a:extLst>
          </p:cNvPr>
          <p:cNvSpPr txBox="1"/>
          <p:nvPr/>
        </p:nvSpPr>
        <p:spPr>
          <a:xfrm>
            <a:off x="5869202" y="2096362"/>
            <a:ext cx="167139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b="1" dirty="0">
                <a:solidFill>
                  <a:srgbClr val="C00000"/>
                </a:solidFill>
              </a:rPr>
              <a:t>AVG $ / ORDER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424EFA53-A5E3-425F-8A44-23DB6DE53DB3}"/>
              </a:ext>
            </a:extLst>
          </p:cNvPr>
          <p:cNvSpPr txBox="1"/>
          <p:nvPr/>
        </p:nvSpPr>
        <p:spPr>
          <a:xfrm>
            <a:off x="7717362" y="2102875"/>
            <a:ext cx="1653049" cy="1896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b="1" dirty="0">
                <a:solidFill>
                  <a:srgbClr val="C00000"/>
                </a:solidFill>
              </a:rPr>
              <a:t>AVG LINES / ORDER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DBD70B27-F7FB-477D-A8E0-976E2E409F56}"/>
              </a:ext>
            </a:extLst>
          </p:cNvPr>
          <p:cNvSpPr txBox="1"/>
          <p:nvPr/>
        </p:nvSpPr>
        <p:spPr>
          <a:xfrm>
            <a:off x="2421821" y="2317963"/>
            <a:ext cx="135527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800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600,000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601A2AF6-7102-479B-99BA-6A220338B827}"/>
              </a:ext>
            </a:extLst>
          </p:cNvPr>
          <p:cNvSpPr txBox="1"/>
          <p:nvPr/>
        </p:nvSpPr>
        <p:spPr>
          <a:xfrm>
            <a:off x="7823137" y="2312266"/>
            <a:ext cx="1391193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800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15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1D25798A-C4E5-499A-A50B-C97989829540}"/>
              </a:ext>
            </a:extLst>
          </p:cNvPr>
          <p:cNvSpPr txBox="1"/>
          <p:nvPr/>
        </p:nvSpPr>
        <p:spPr>
          <a:xfrm>
            <a:off x="5948338" y="2312266"/>
            <a:ext cx="153477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800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$12,000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2DECE783-C7BC-4351-94E0-67F4A6A27AE0}"/>
              </a:ext>
            </a:extLst>
          </p:cNvPr>
          <p:cNvSpPr/>
          <p:nvPr/>
        </p:nvSpPr>
        <p:spPr>
          <a:xfrm>
            <a:off x="4075514" y="2075342"/>
            <a:ext cx="1671390" cy="780593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7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AB4BEED5-11C0-4264-922E-7AEF85DB885B}"/>
              </a:ext>
            </a:extLst>
          </p:cNvPr>
          <p:cNvSpPr txBox="1"/>
          <p:nvPr/>
        </p:nvSpPr>
        <p:spPr>
          <a:xfrm>
            <a:off x="4057448" y="2107863"/>
            <a:ext cx="168945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b="1" dirty="0">
                <a:solidFill>
                  <a:srgbClr val="C00000"/>
                </a:solidFill>
              </a:rPr>
              <a:t>EXPECT ORDERS / YEAR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1D02A7ED-75F6-4A51-94A4-50B470FBB438}"/>
              </a:ext>
            </a:extLst>
          </p:cNvPr>
          <p:cNvSpPr txBox="1"/>
          <p:nvPr/>
        </p:nvSpPr>
        <p:spPr>
          <a:xfrm>
            <a:off x="4233572" y="2327587"/>
            <a:ext cx="135527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800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30,000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43751D21-568C-4318-BEFF-F59D637ED0DC}"/>
              </a:ext>
            </a:extLst>
          </p:cNvPr>
          <p:cNvSpPr txBox="1"/>
          <p:nvPr/>
        </p:nvSpPr>
        <p:spPr>
          <a:xfrm>
            <a:off x="7717363" y="1481579"/>
            <a:ext cx="1671391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800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67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%</a:t>
            </a:r>
            <a:endParaRPr lang="en-US" sz="2800" dirty="0">
              <a:solidFill>
                <a:schemeClr val="bg1">
                  <a:lumMod val="50000"/>
                </a:schemeClr>
              </a:solidFill>
              <a:latin typeface="Bahnschrift" panose="020B0502040204020203" pitchFamily="34" charset="0"/>
              <a:cs typeface="Calibri" panose="020F0502020204030204" pitchFamily="34" charset="0"/>
            </a:endParaRP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3C4A13C7-4DAE-4441-B204-D887B9998DBD}"/>
              </a:ext>
            </a:extLst>
          </p:cNvPr>
          <p:cNvSpPr txBox="1"/>
          <p:nvPr/>
        </p:nvSpPr>
        <p:spPr>
          <a:xfrm>
            <a:off x="5886463" y="1481579"/>
            <a:ext cx="1696857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800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12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5AD31831-F3E9-47E9-9B4E-4F2636CF3B69}"/>
              </a:ext>
            </a:extLst>
          </p:cNvPr>
          <p:cNvSpPr txBox="1"/>
          <p:nvPr/>
        </p:nvSpPr>
        <p:spPr>
          <a:xfrm>
            <a:off x="4057449" y="1478051"/>
            <a:ext cx="1671390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800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14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29F1732D-062B-4865-8935-C6B0150A8B5C}"/>
              </a:ext>
            </a:extLst>
          </p:cNvPr>
          <p:cNvSpPr txBox="1"/>
          <p:nvPr/>
        </p:nvSpPr>
        <p:spPr>
          <a:xfrm>
            <a:off x="2245697" y="1462172"/>
            <a:ext cx="1688652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800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20</a:t>
            </a: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43FAC18F-CCFC-4FED-9B73-F7F29287349E}"/>
              </a:ext>
            </a:extLst>
          </p:cNvPr>
          <p:cNvSpPr/>
          <p:nvPr/>
        </p:nvSpPr>
        <p:spPr>
          <a:xfrm>
            <a:off x="9784478" y="1199469"/>
            <a:ext cx="1671390" cy="780593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7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0FE67344-C771-4DF6-9F5B-418CE7B67F34}"/>
              </a:ext>
            </a:extLst>
          </p:cNvPr>
          <p:cNvSpPr txBox="1"/>
          <p:nvPr/>
        </p:nvSpPr>
        <p:spPr>
          <a:xfrm>
            <a:off x="9766412" y="1231990"/>
            <a:ext cx="168945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b="1" dirty="0">
                <a:solidFill>
                  <a:srgbClr val="C00000"/>
                </a:solidFill>
              </a:rPr>
              <a:t>ACTUAL LINES YTD 2020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6F456AE4-FD63-4F42-A5E5-1A2AD3ED596B}"/>
              </a:ext>
            </a:extLst>
          </p:cNvPr>
          <p:cNvSpPr txBox="1"/>
          <p:nvPr/>
        </p:nvSpPr>
        <p:spPr>
          <a:xfrm>
            <a:off x="9942536" y="1451714"/>
            <a:ext cx="135527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800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400,000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8C051CAB-50A8-42F9-9DE4-2C20C078D194}"/>
              </a:ext>
            </a:extLst>
          </p:cNvPr>
          <p:cNvSpPr/>
          <p:nvPr/>
        </p:nvSpPr>
        <p:spPr>
          <a:xfrm>
            <a:off x="9788301" y="2056224"/>
            <a:ext cx="1671390" cy="780593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7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817A9855-8E1A-431F-9A43-22C762AF8351}"/>
              </a:ext>
            </a:extLst>
          </p:cNvPr>
          <p:cNvSpPr txBox="1"/>
          <p:nvPr/>
        </p:nvSpPr>
        <p:spPr>
          <a:xfrm>
            <a:off x="9770235" y="2088745"/>
            <a:ext cx="168945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b="1" dirty="0">
                <a:solidFill>
                  <a:srgbClr val="C00000"/>
                </a:solidFill>
              </a:rPr>
              <a:t>ACTUAL ORDERS YTD 2020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88E0CAAA-F990-4233-AFAA-05D4114270D7}"/>
              </a:ext>
            </a:extLst>
          </p:cNvPr>
          <p:cNvSpPr txBox="1"/>
          <p:nvPr/>
        </p:nvSpPr>
        <p:spPr>
          <a:xfrm>
            <a:off x="9946359" y="2308469"/>
            <a:ext cx="135527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800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20,000</a:t>
            </a:r>
          </a:p>
        </p:txBody>
      </p:sp>
      <p:pic>
        <p:nvPicPr>
          <p:cNvPr id="98" name="Picture 97">
            <a:extLst>
              <a:ext uri="{FF2B5EF4-FFF2-40B4-BE49-F238E27FC236}">
                <a16:creationId xmlns:a16="http://schemas.microsoft.com/office/drawing/2014/main" id="{BBBFACE9-713E-4D93-B951-D7771BEA392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27248" y="3185538"/>
            <a:ext cx="6028620" cy="2621290"/>
          </a:xfrm>
          <a:prstGeom prst="rect">
            <a:avLst/>
          </a:prstGeom>
          <a:ln w="28575">
            <a:solidFill>
              <a:schemeClr val="bg1">
                <a:lumMod val="6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2331426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E5B24B26-F498-479A-9712-3BC24141A4F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" y="1135743"/>
            <a:ext cx="10699335" cy="4586514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6501E917-7666-4006-A5F2-1CF1AD5A3080}"/>
              </a:ext>
            </a:extLst>
          </p:cNvPr>
          <p:cNvSpPr/>
          <p:nvPr/>
        </p:nvSpPr>
        <p:spPr>
          <a:xfrm>
            <a:off x="1061666" y="0"/>
            <a:ext cx="4267200" cy="5722257"/>
          </a:xfrm>
          <a:prstGeom prst="rect">
            <a:avLst/>
          </a:prstGeom>
          <a:solidFill>
            <a:schemeClr val="accent5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B7993AC-44D2-4082-AF90-38799DB32337}"/>
              </a:ext>
            </a:extLst>
          </p:cNvPr>
          <p:cNvSpPr txBox="1"/>
          <p:nvPr/>
        </p:nvSpPr>
        <p:spPr>
          <a:xfrm>
            <a:off x="1060764" y="766412"/>
            <a:ext cx="4267200" cy="221599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4800" dirty="0">
                <a:solidFill>
                  <a:schemeClr val="bg1"/>
                </a:solidFill>
                <a:latin typeface="Bahnschrift" panose="020B0502040204020203" pitchFamily="34" charset="0"/>
                <a:cs typeface="Segoe UI Semibold" panose="020B0702040204020203" pitchFamily="34" charset="0"/>
              </a:rPr>
              <a:t>INVENTORY</a:t>
            </a:r>
          </a:p>
          <a:p>
            <a:pPr algn="ctr"/>
            <a:r>
              <a:rPr lang="en-US" sz="4800" dirty="0">
                <a:solidFill>
                  <a:schemeClr val="bg1"/>
                </a:solidFill>
                <a:latin typeface="Bahnschrift" panose="020B0502040204020203" pitchFamily="34" charset="0"/>
                <a:cs typeface="Segoe UI Semibold" panose="020B0702040204020203" pitchFamily="34" charset="0"/>
              </a:rPr>
              <a:t>TEAM </a:t>
            </a:r>
          </a:p>
          <a:p>
            <a:pPr algn="ctr"/>
            <a:r>
              <a:rPr lang="en-US" sz="4800" dirty="0">
                <a:solidFill>
                  <a:schemeClr val="bg1"/>
                </a:solidFill>
                <a:latin typeface="Bahnschrift" panose="020B0502040204020203" pitchFamily="34" charset="0"/>
                <a:cs typeface="Segoe UI Semibold" panose="020B0702040204020203" pitchFamily="34" charset="0"/>
              </a:rPr>
              <a:t>OVERVIEW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5CA63B0-62BC-49F5-9B7F-36B8E7CEB72E}"/>
              </a:ext>
            </a:extLst>
          </p:cNvPr>
          <p:cNvSpPr txBox="1"/>
          <p:nvPr/>
        </p:nvSpPr>
        <p:spPr>
          <a:xfrm>
            <a:off x="1060764" y="3932812"/>
            <a:ext cx="4267200" cy="135421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4400" dirty="0">
                <a:solidFill>
                  <a:schemeClr val="bg1"/>
                </a:solidFill>
                <a:effectLst/>
                <a:latin typeface="Bahnschrift Condensed" panose="020B0502040204020203" pitchFamily="34" charset="0"/>
                <a:cs typeface="Segoe UI Semibold" panose="020B0702040204020203" pitchFamily="34" charset="0"/>
              </a:rPr>
              <a:t>Key Values</a:t>
            </a:r>
          </a:p>
          <a:p>
            <a:pPr algn="ctr"/>
            <a:r>
              <a:rPr lang="en-US" sz="4400" dirty="0">
                <a:solidFill>
                  <a:schemeClr val="bg1"/>
                </a:solidFill>
                <a:effectLst/>
                <a:latin typeface="Bahnschrift Condensed" panose="020B0502040204020203" pitchFamily="34" charset="0"/>
                <a:cs typeface="Segoe UI Semibold" panose="020B0702040204020203" pitchFamily="34" charset="0"/>
              </a:rPr>
              <a:t>&amp; Benchmark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08C4B99-C8FF-4A1D-AEEB-ACA8BBE08D95}"/>
              </a:ext>
            </a:extLst>
          </p:cNvPr>
          <p:cNvSpPr txBox="1"/>
          <p:nvPr/>
        </p:nvSpPr>
        <p:spPr>
          <a:xfrm>
            <a:off x="-1" y="106207"/>
            <a:ext cx="1060765" cy="92333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6000" dirty="0">
                <a:solidFill>
                  <a:schemeClr val="accent1"/>
                </a:solidFill>
                <a:latin typeface="Bahnschrift" panose="020B0502040204020203" pitchFamily="34" charset="0"/>
                <a:cs typeface="Segoe UI Semibold" panose="020B0702040204020203" pitchFamily="34" charset="0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84855484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E5B24B26-F498-479A-9712-3BC24141A4F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135743"/>
            <a:ext cx="10485689" cy="4586514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6501E917-7666-4006-A5F2-1CF1AD5A3080}"/>
              </a:ext>
            </a:extLst>
          </p:cNvPr>
          <p:cNvSpPr/>
          <p:nvPr/>
        </p:nvSpPr>
        <p:spPr>
          <a:xfrm>
            <a:off x="1061666" y="0"/>
            <a:ext cx="4267200" cy="5722257"/>
          </a:xfrm>
          <a:prstGeom prst="rect">
            <a:avLst/>
          </a:prstGeom>
          <a:solidFill>
            <a:schemeClr val="accent5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51BDE8C-C874-4027-92B6-106F8C9E07A1}"/>
              </a:ext>
            </a:extLst>
          </p:cNvPr>
          <p:cNvSpPr txBox="1"/>
          <p:nvPr/>
        </p:nvSpPr>
        <p:spPr>
          <a:xfrm>
            <a:off x="737448" y="1067226"/>
            <a:ext cx="4896740" cy="193899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6600" dirty="0">
                <a:solidFill>
                  <a:schemeClr val="bg1"/>
                </a:solidFill>
                <a:latin typeface="Bahnschrift" panose="020B0502040204020203" pitchFamily="34" charset="0"/>
                <a:cs typeface="Segoe UI Semibold" panose="020B0702040204020203" pitchFamily="34" charset="0"/>
              </a:rPr>
              <a:t>INCOME</a:t>
            </a:r>
            <a:endParaRPr lang="en-US" sz="6000" dirty="0">
              <a:solidFill>
                <a:schemeClr val="bg1"/>
              </a:solidFill>
              <a:latin typeface="Bahnschrift" panose="020B0502040204020203" pitchFamily="34" charset="0"/>
              <a:cs typeface="Segoe UI Semibold" panose="020B0702040204020203" pitchFamily="34" charset="0"/>
            </a:endParaRPr>
          </a:p>
          <a:p>
            <a:pPr algn="ctr"/>
            <a:endParaRPr lang="en-US" sz="6000" dirty="0">
              <a:solidFill>
                <a:schemeClr val="bg1"/>
              </a:solidFill>
              <a:latin typeface="Bahnschrift" panose="020B05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5C833E3-0D95-47A2-8C6D-C78D83D0CF2B}"/>
              </a:ext>
            </a:extLst>
          </p:cNvPr>
          <p:cNvSpPr txBox="1"/>
          <p:nvPr/>
        </p:nvSpPr>
        <p:spPr>
          <a:xfrm>
            <a:off x="1060764" y="3006218"/>
            <a:ext cx="4267200" cy="135421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4400" dirty="0">
                <a:solidFill>
                  <a:schemeClr val="bg1"/>
                </a:solidFill>
                <a:effectLst/>
                <a:latin typeface="Bahnschrift" panose="020B0502040204020203" pitchFamily="34" charset="0"/>
                <a:cs typeface="Segoe UI Semibold" panose="020B0702040204020203" pitchFamily="34" charset="0"/>
              </a:rPr>
              <a:t>Key Values</a:t>
            </a:r>
          </a:p>
          <a:p>
            <a:pPr algn="ctr"/>
            <a:r>
              <a:rPr lang="en-US" sz="4400" dirty="0">
                <a:solidFill>
                  <a:schemeClr val="bg1"/>
                </a:solidFill>
                <a:effectLst/>
                <a:latin typeface="Bahnschrift" panose="020B0502040204020203" pitchFamily="34" charset="0"/>
                <a:cs typeface="Segoe UI Semibold" panose="020B0702040204020203" pitchFamily="34" charset="0"/>
              </a:rPr>
              <a:t>&amp; Benchmark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2F5DA7B-8E7D-4B61-A9DD-3FCDA147274E}"/>
              </a:ext>
            </a:extLst>
          </p:cNvPr>
          <p:cNvSpPr txBox="1"/>
          <p:nvPr/>
        </p:nvSpPr>
        <p:spPr>
          <a:xfrm>
            <a:off x="1060764" y="1850566"/>
            <a:ext cx="4267200" cy="67710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4400" dirty="0">
                <a:solidFill>
                  <a:schemeClr val="bg1"/>
                </a:solidFill>
                <a:latin typeface="Bahnschrift" panose="020B0502040204020203" pitchFamily="34" charset="0"/>
                <a:cs typeface="Segoe UI Semibold" panose="020B0702040204020203" pitchFamily="34" charset="0"/>
              </a:rPr>
              <a:t>STATEMENT</a:t>
            </a:r>
            <a:endParaRPr lang="en-US" sz="4800" dirty="0">
              <a:solidFill>
                <a:schemeClr val="bg1"/>
              </a:solidFill>
              <a:latin typeface="Bahnschrift" panose="020B05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AC20A68-0324-458F-AFEE-56983312BD3D}"/>
              </a:ext>
            </a:extLst>
          </p:cNvPr>
          <p:cNvSpPr txBox="1"/>
          <p:nvPr/>
        </p:nvSpPr>
        <p:spPr>
          <a:xfrm>
            <a:off x="-1" y="106207"/>
            <a:ext cx="1060765" cy="92333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6000" dirty="0">
                <a:solidFill>
                  <a:schemeClr val="accent1"/>
                </a:solidFill>
                <a:latin typeface="Bahnschrift" panose="020B0502040204020203" pitchFamily="34" charset="0"/>
                <a:cs typeface="Segoe UI Semibold" panose="020B0702040204020203" pitchFamily="34" charset="0"/>
              </a:rPr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27984451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2072424-5D56-4214-9B0E-115C1E9D580C}"/>
              </a:ext>
            </a:extLst>
          </p:cNvPr>
          <p:cNvSpPr/>
          <p:nvPr/>
        </p:nvSpPr>
        <p:spPr>
          <a:xfrm>
            <a:off x="1166948" y="6448197"/>
            <a:ext cx="10013044" cy="181203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A4CCC08-A329-477A-B80B-2665F19C7039}"/>
              </a:ext>
            </a:extLst>
          </p:cNvPr>
          <p:cNvSpPr/>
          <p:nvPr/>
        </p:nvSpPr>
        <p:spPr>
          <a:xfrm>
            <a:off x="11267076" y="6448197"/>
            <a:ext cx="924923" cy="18120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E1CD0E2-CC0D-499F-9749-4EA83170CC35}"/>
              </a:ext>
            </a:extLst>
          </p:cNvPr>
          <p:cNvSpPr txBox="1"/>
          <p:nvPr/>
        </p:nvSpPr>
        <p:spPr>
          <a:xfrm>
            <a:off x="2059536" y="283206"/>
            <a:ext cx="7160584" cy="61555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en-US" sz="4000" dirty="0">
                <a:solidFill>
                  <a:schemeClr val="tx1">
                    <a:lumMod val="65000"/>
                    <a:lumOff val="35000"/>
                  </a:schemeClr>
                </a:solidFill>
                <a:latin typeface="Bahnschrift" panose="020B0502040204020203" pitchFamily="34" charset="0"/>
                <a:cs typeface="Segoe UI Semibold" panose="020B0702040204020203" pitchFamily="34" charset="0"/>
              </a:rPr>
              <a:t>CORE FINANCIALS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16D71225-67D9-4D2D-8C1D-31216784E68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899" y="5866267"/>
            <a:ext cx="830596" cy="855208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A5E857A2-3DCA-4885-AE9A-54A4F795E13F}"/>
              </a:ext>
            </a:extLst>
          </p:cNvPr>
          <p:cNvSpPr/>
          <p:nvPr/>
        </p:nvSpPr>
        <p:spPr>
          <a:xfrm>
            <a:off x="338984" y="0"/>
            <a:ext cx="1207805" cy="1577589"/>
          </a:xfrm>
          <a:prstGeom prst="rect">
            <a:avLst/>
          </a:prstGeom>
          <a:solidFill>
            <a:schemeClr val="accent6">
              <a:lumMod val="5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A65D253-AE33-4D42-9554-1DB8E28F3AF6}"/>
              </a:ext>
            </a:extLst>
          </p:cNvPr>
          <p:cNvSpPr txBox="1"/>
          <p:nvPr/>
        </p:nvSpPr>
        <p:spPr>
          <a:xfrm>
            <a:off x="18815" y="86259"/>
            <a:ext cx="1848142" cy="123110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8000" dirty="0">
                <a:solidFill>
                  <a:schemeClr val="bg1"/>
                </a:solidFill>
                <a:latin typeface="Bahnschrift" panose="020B0502040204020203" pitchFamily="34" charset="0"/>
                <a:cs typeface="Segoe UI Semibold" panose="020B0702040204020203" pitchFamily="34" charset="0"/>
              </a:rPr>
              <a:t>A</a:t>
            </a: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F880D2DA-A7CB-4493-9190-E8FF7DB0272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39147" y="992270"/>
            <a:ext cx="4937996" cy="4972479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C2BC8BFE-C6ED-4CAB-96E4-24122BF1DE8F}"/>
              </a:ext>
            </a:extLst>
          </p:cNvPr>
          <p:cNvSpPr/>
          <p:nvPr/>
        </p:nvSpPr>
        <p:spPr>
          <a:xfrm>
            <a:off x="9944018" y="1060663"/>
            <a:ext cx="1406109" cy="5523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CA19394F-D06F-4E16-B34F-6E96B0E014BC}"/>
              </a:ext>
            </a:extLst>
          </p:cNvPr>
          <p:cNvSpPr txBox="1"/>
          <p:nvPr/>
        </p:nvSpPr>
        <p:spPr>
          <a:xfrm>
            <a:off x="9924179" y="1084183"/>
            <a:ext cx="142594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b="1" dirty="0">
                <a:solidFill>
                  <a:srgbClr val="009900"/>
                </a:solidFill>
              </a:rPr>
              <a:t>AVG PURCH PRICE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6606556D-DFA4-4061-9058-FA87EA3EB18F}"/>
              </a:ext>
            </a:extLst>
          </p:cNvPr>
          <p:cNvSpPr txBox="1"/>
          <p:nvPr/>
        </p:nvSpPr>
        <p:spPr>
          <a:xfrm>
            <a:off x="9944018" y="1268849"/>
            <a:ext cx="135527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800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$54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0E5A5702-C002-400F-8791-5FCB47B79C6E}"/>
              </a:ext>
            </a:extLst>
          </p:cNvPr>
          <p:cNvSpPr/>
          <p:nvPr/>
        </p:nvSpPr>
        <p:spPr>
          <a:xfrm>
            <a:off x="8340219" y="1097450"/>
            <a:ext cx="1406109" cy="5523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4AF4B72A-7179-4ECE-8424-11B3BE61B2E2}"/>
              </a:ext>
            </a:extLst>
          </p:cNvPr>
          <p:cNvSpPr txBox="1"/>
          <p:nvPr/>
        </p:nvSpPr>
        <p:spPr>
          <a:xfrm>
            <a:off x="8320380" y="1120970"/>
            <a:ext cx="142594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b="1" dirty="0">
                <a:solidFill>
                  <a:srgbClr val="009900"/>
                </a:solidFill>
              </a:rPr>
              <a:t>- ANNL COGS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4CF2FCC2-E2C9-4020-8857-F84F7E871226}"/>
              </a:ext>
            </a:extLst>
          </p:cNvPr>
          <p:cNvSpPr txBox="1"/>
          <p:nvPr/>
        </p:nvSpPr>
        <p:spPr>
          <a:xfrm>
            <a:off x="8340219" y="1305636"/>
            <a:ext cx="135527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800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720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M</a:t>
            </a:r>
            <a:endParaRPr lang="en-US" sz="2800" dirty="0">
              <a:solidFill>
                <a:schemeClr val="bg1">
                  <a:lumMod val="50000"/>
                </a:schemeClr>
              </a:solidFill>
              <a:latin typeface="Bahnschrift" panose="020B0502040204020203" pitchFamily="34" charset="0"/>
              <a:cs typeface="Calibri" panose="020F0502020204030204" pitchFamily="34" charset="0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E1EC23A7-E8C2-4D4C-B730-DC4D43CA0C2C}"/>
              </a:ext>
            </a:extLst>
          </p:cNvPr>
          <p:cNvSpPr/>
          <p:nvPr/>
        </p:nvSpPr>
        <p:spPr>
          <a:xfrm>
            <a:off x="9956108" y="1943080"/>
            <a:ext cx="1406109" cy="5523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794D6066-18FF-492A-9191-8F4A4C5D22CB}"/>
              </a:ext>
            </a:extLst>
          </p:cNvPr>
          <p:cNvSpPr txBox="1"/>
          <p:nvPr/>
        </p:nvSpPr>
        <p:spPr>
          <a:xfrm>
            <a:off x="9936269" y="1966600"/>
            <a:ext cx="142594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b="1" dirty="0">
                <a:solidFill>
                  <a:srgbClr val="009900"/>
                </a:solidFill>
              </a:rPr>
              <a:t>AVG SALES PRICE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4983498B-82CE-4579-97D7-D90CBE3A8F0E}"/>
              </a:ext>
            </a:extLst>
          </p:cNvPr>
          <p:cNvSpPr txBox="1"/>
          <p:nvPr/>
        </p:nvSpPr>
        <p:spPr>
          <a:xfrm>
            <a:off x="9956108" y="2151266"/>
            <a:ext cx="135527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800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$75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499F949A-22B1-4ABE-AD5E-3FCAE2D1C29D}"/>
              </a:ext>
            </a:extLst>
          </p:cNvPr>
          <p:cNvSpPr/>
          <p:nvPr/>
        </p:nvSpPr>
        <p:spPr>
          <a:xfrm>
            <a:off x="8340219" y="1934548"/>
            <a:ext cx="1406109" cy="5523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00AA0361-D555-4896-AE74-DD46ED09AE6E}"/>
              </a:ext>
            </a:extLst>
          </p:cNvPr>
          <p:cNvSpPr txBox="1"/>
          <p:nvPr/>
        </p:nvSpPr>
        <p:spPr>
          <a:xfrm>
            <a:off x="8320380" y="1958068"/>
            <a:ext cx="142594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b="1" dirty="0">
                <a:solidFill>
                  <a:srgbClr val="009900"/>
                </a:solidFill>
              </a:rPr>
              <a:t>AVG ITEM MARGIN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D7ADE70D-BD2B-49FC-B6D6-6801E9AD2F71}"/>
              </a:ext>
            </a:extLst>
          </p:cNvPr>
          <p:cNvSpPr txBox="1"/>
          <p:nvPr/>
        </p:nvSpPr>
        <p:spPr>
          <a:xfrm>
            <a:off x="8340219" y="2142734"/>
            <a:ext cx="135527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800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$21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E8DDE3C5-97C4-4041-9D4B-83AA7C5A62B1}"/>
              </a:ext>
            </a:extLst>
          </p:cNvPr>
          <p:cNvSpPr/>
          <p:nvPr/>
        </p:nvSpPr>
        <p:spPr>
          <a:xfrm>
            <a:off x="9169421" y="2756819"/>
            <a:ext cx="1406109" cy="5523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4AF81536-B536-4DC8-90EE-342485B9E764}"/>
              </a:ext>
            </a:extLst>
          </p:cNvPr>
          <p:cNvSpPr txBox="1"/>
          <p:nvPr/>
        </p:nvSpPr>
        <p:spPr>
          <a:xfrm>
            <a:off x="9149582" y="2780339"/>
            <a:ext cx="142594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b="1" dirty="0">
                <a:solidFill>
                  <a:srgbClr val="009900"/>
                </a:solidFill>
              </a:rPr>
              <a:t>= GROSS PROFIT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7BF899C3-B5A3-4319-89D5-BBE3F3A65546}"/>
              </a:ext>
            </a:extLst>
          </p:cNvPr>
          <p:cNvSpPr txBox="1"/>
          <p:nvPr/>
        </p:nvSpPr>
        <p:spPr>
          <a:xfrm>
            <a:off x="9169421" y="2965005"/>
            <a:ext cx="135527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800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280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M</a:t>
            </a:r>
            <a:endParaRPr lang="en-US" sz="2800" dirty="0">
              <a:solidFill>
                <a:schemeClr val="bg1">
                  <a:lumMod val="50000"/>
                </a:schemeClr>
              </a:solidFill>
              <a:latin typeface="Bahnschrift" panose="020B0502040204020203" pitchFamily="34" charset="0"/>
              <a:cs typeface="Calibri" panose="020F0502020204030204" pitchFamily="34" charset="0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4790CD30-2FCE-4FC7-8332-412C68FB886E}"/>
              </a:ext>
            </a:extLst>
          </p:cNvPr>
          <p:cNvSpPr/>
          <p:nvPr/>
        </p:nvSpPr>
        <p:spPr>
          <a:xfrm>
            <a:off x="9963857" y="3601376"/>
            <a:ext cx="1406109" cy="5523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312EFA3E-82F3-4F92-BF4D-4581946A715F}"/>
              </a:ext>
            </a:extLst>
          </p:cNvPr>
          <p:cNvSpPr txBox="1"/>
          <p:nvPr/>
        </p:nvSpPr>
        <p:spPr>
          <a:xfrm>
            <a:off x="9944018" y="3624896"/>
            <a:ext cx="142594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b="1" dirty="0">
                <a:solidFill>
                  <a:srgbClr val="009900"/>
                </a:solidFill>
              </a:rPr>
              <a:t>CARRYING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09E98DE5-EC65-4953-8A79-159D07C2E1F4}"/>
              </a:ext>
            </a:extLst>
          </p:cNvPr>
          <p:cNvSpPr txBox="1"/>
          <p:nvPr/>
        </p:nvSpPr>
        <p:spPr>
          <a:xfrm>
            <a:off x="9963857" y="3809562"/>
            <a:ext cx="135527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800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10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M</a:t>
            </a:r>
            <a:endParaRPr lang="en-US" sz="2800" dirty="0">
              <a:solidFill>
                <a:schemeClr val="bg1">
                  <a:lumMod val="50000"/>
                </a:schemeClr>
              </a:solidFill>
              <a:latin typeface="Bahnschrift" panose="020B0502040204020203" pitchFamily="34" charset="0"/>
              <a:cs typeface="Calibri" panose="020F0502020204030204" pitchFamily="34" charset="0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262EDA5D-78E0-4831-B5A0-E94B16612F1C}"/>
              </a:ext>
            </a:extLst>
          </p:cNvPr>
          <p:cNvSpPr/>
          <p:nvPr/>
        </p:nvSpPr>
        <p:spPr>
          <a:xfrm>
            <a:off x="8360058" y="3573959"/>
            <a:ext cx="1406109" cy="5523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DFA7D5B7-FC36-415F-AAD6-B766A6A1B224}"/>
              </a:ext>
            </a:extLst>
          </p:cNvPr>
          <p:cNvSpPr txBox="1"/>
          <p:nvPr/>
        </p:nvSpPr>
        <p:spPr>
          <a:xfrm>
            <a:off x="8340219" y="3597479"/>
            <a:ext cx="142594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b="1" dirty="0">
                <a:solidFill>
                  <a:srgbClr val="009900"/>
                </a:solidFill>
              </a:rPr>
              <a:t>- INV OPER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FE605811-E4E5-4F0B-9904-5BFB4D2B0D8B}"/>
              </a:ext>
            </a:extLst>
          </p:cNvPr>
          <p:cNvSpPr txBox="1"/>
          <p:nvPr/>
        </p:nvSpPr>
        <p:spPr>
          <a:xfrm>
            <a:off x="8360058" y="3782145"/>
            <a:ext cx="135527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800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15.0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M</a:t>
            </a:r>
            <a:endParaRPr lang="en-US" sz="2800" dirty="0">
              <a:solidFill>
                <a:schemeClr val="bg1">
                  <a:lumMod val="50000"/>
                </a:schemeClr>
              </a:solidFill>
              <a:latin typeface="Bahnschrift" panose="020B0502040204020203" pitchFamily="34" charset="0"/>
              <a:cs typeface="Calibri" panose="020F0502020204030204" pitchFamily="34" charset="0"/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04AE3854-8815-4135-BEFB-68424ABC6FBD}"/>
              </a:ext>
            </a:extLst>
          </p:cNvPr>
          <p:cNvSpPr/>
          <p:nvPr/>
        </p:nvSpPr>
        <p:spPr>
          <a:xfrm>
            <a:off x="9944018" y="4410767"/>
            <a:ext cx="1406109" cy="5523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57174A06-8D9E-4426-B70C-2D3E5FBCC8E1}"/>
              </a:ext>
            </a:extLst>
          </p:cNvPr>
          <p:cNvSpPr txBox="1"/>
          <p:nvPr/>
        </p:nvSpPr>
        <p:spPr>
          <a:xfrm>
            <a:off x="9924179" y="4434287"/>
            <a:ext cx="142594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b="1" dirty="0">
                <a:solidFill>
                  <a:srgbClr val="009900"/>
                </a:solidFill>
              </a:rPr>
              <a:t>ACQUISITION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D6D0508C-2631-4CA8-8FE6-8092AA0A2C3B}"/>
              </a:ext>
            </a:extLst>
          </p:cNvPr>
          <p:cNvSpPr txBox="1"/>
          <p:nvPr/>
        </p:nvSpPr>
        <p:spPr>
          <a:xfrm>
            <a:off x="9944018" y="4618953"/>
            <a:ext cx="135527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800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5.0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M</a:t>
            </a:r>
            <a:endParaRPr lang="en-US" sz="2800" dirty="0">
              <a:solidFill>
                <a:schemeClr val="bg1">
                  <a:lumMod val="50000"/>
                </a:schemeClr>
              </a:solidFill>
              <a:latin typeface="Bahnschrift" panose="020B0502040204020203" pitchFamily="34" charset="0"/>
              <a:cs typeface="Calibri" panose="020F0502020204030204" pitchFamily="34" charset="0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9B0E0EA3-A205-472C-8CDC-27686482CD4C}"/>
              </a:ext>
            </a:extLst>
          </p:cNvPr>
          <p:cNvSpPr/>
          <p:nvPr/>
        </p:nvSpPr>
        <p:spPr>
          <a:xfrm>
            <a:off x="8312022" y="4400054"/>
            <a:ext cx="1406109" cy="5523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D7C94733-0B97-424A-8E31-EE7AB3075EC5}"/>
              </a:ext>
            </a:extLst>
          </p:cNvPr>
          <p:cNvSpPr txBox="1"/>
          <p:nvPr/>
        </p:nvSpPr>
        <p:spPr>
          <a:xfrm>
            <a:off x="8292183" y="4423574"/>
            <a:ext cx="142594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b="1" dirty="0">
                <a:solidFill>
                  <a:srgbClr val="009900"/>
                </a:solidFill>
              </a:rPr>
              <a:t>- GEN OPER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9F9CF4E4-6AC0-4617-ADAA-55E41D26437E}"/>
              </a:ext>
            </a:extLst>
          </p:cNvPr>
          <p:cNvSpPr txBox="1"/>
          <p:nvPr/>
        </p:nvSpPr>
        <p:spPr>
          <a:xfrm>
            <a:off x="8312022" y="4608240"/>
            <a:ext cx="135527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800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230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M</a:t>
            </a:r>
            <a:endParaRPr lang="en-US" sz="2800" dirty="0">
              <a:solidFill>
                <a:schemeClr val="bg1">
                  <a:lumMod val="50000"/>
                </a:schemeClr>
              </a:solidFill>
              <a:latin typeface="Bahnschrift" panose="020B0502040204020203" pitchFamily="34" charset="0"/>
              <a:cs typeface="Calibri" panose="020F0502020204030204" pitchFamily="34" charset="0"/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CFC012BE-0319-44E1-AF2E-2A8ACCB30AD3}"/>
              </a:ext>
            </a:extLst>
          </p:cNvPr>
          <p:cNvSpPr/>
          <p:nvPr/>
        </p:nvSpPr>
        <p:spPr>
          <a:xfrm>
            <a:off x="9149582" y="5252941"/>
            <a:ext cx="1406109" cy="5523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219B3B42-CBE3-4485-9EF8-BA093F23B41B}"/>
              </a:ext>
            </a:extLst>
          </p:cNvPr>
          <p:cNvSpPr txBox="1"/>
          <p:nvPr/>
        </p:nvSpPr>
        <p:spPr>
          <a:xfrm>
            <a:off x="9129743" y="5276461"/>
            <a:ext cx="142594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b="1" dirty="0">
                <a:solidFill>
                  <a:srgbClr val="009900"/>
                </a:solidFill>
              </a:rPr>
              <a:t>= NET PROFIT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594583D7-5247-48AB-9F5A-3F309E5CFBED}"/>
              </a:ext>
            </a:extLst>
          </p:cNvPr>
          <p:cNvSpPr txBox="1"/>
          <p:nvPr/>
        </p:nvSpPr>
        <p:spPr>
          <a:xfrm>
            <a:off x="9149582" y="5461127"/>
            <a:ext cx="135527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800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35.0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M</a:t>
            </a:r>
            <a:endParaRPr lang="en-US" sz="2800" dirty="0">
              <a:solidFill>
                <a:schemeClr val="bg1">
                  <a:lumMod val="50000"/>
                </a:schemeClr>
              </a:solidFill>
              <a:latin typeface="Bahnschrift" panose="020B0502040204020203" pitchFamily="34" charset="0"/>
              <a:cs typeface="Calibri" panose="020F0502020204030204" pitchFamily="34" charset="0"/>
            </a:endParaRPr>
          </a:p>
        </p:txBody>
      </p:sp>
      <p:pic>
        <p:nvPicPr>
          <p:cNvPr id="98" name="Picture 97">
            <a:extLst>
              <a:ext uri="{FF2B5EF4-FFF2-40B4-BE49-F238E27FC236}">
                <a16:creationId xmlns:a16="http://schemas.microsoft.com/office/drawing/2014/main" id="{3130EA29-FA4A-4677-8E10-A4DF3B1569D3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52127" y="1934548"/>
            <a:ext cx="1355274" cy="598762"/>
          </a:xfrm>
          <a:prstGeom prst="rect">
            <a:avLst/>
          </a:prstGeom>
        </p:spPr>
      </p:pic>
      <p:pic>
        <p:nvPicPr>
          <p:cNvPr id="100" name="Picture 99">
            <a:extLst>
              <a:ext uri="{FF2B5EF4-FFF2-40B4-BE49-F238E27FC236}">
                <a16:creationId xmlns:a16="http://schemas.microsoft.com/office/drawing/2014/main" id="{D76D1229-6A3E-430E-B5D6-58E876E70428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27962" y="1087124"/>
            <a:ext cx="1355274" cy="598762"/>
          </a:xfrm>
          <a:prstGeom prst="rect">
            <a:avLst/>
          </a:prstGeom>
        </p:spPr>
      </p:pic>
      <p:pic>
        <p:nvPicPr>
          <p:cNvPr id="102" name="Picture 101">
            <a:extLst>
              <a:ext uri="{FF2B5EF4-FFF2-40B4-BE49-F238E27FC236}">
                <a16:creationId xmlns:a16="http://schemas.microsoft.com/office/drawing/2014/main" id="{9FBC3F6A-DFB9-4B05-B0C8-CB7F24DC3010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45241" y="2733602"/>
            <a:ext cx="1355274" cy="598762"/>
          </a:xfrm>
          <a:prstGeom prst="rect">
            <a:avLst/>
          </a:prstGeom>
        </p:spPr>
      </p:pic>
      <p:pic>
        <p:nvPicPr>
          <p:cNvPr id="104" name="Picture 103">
            <a:extLst>
              <a:ext uri="{FF2B5EF4-FFF2-40B4-BE49-F238E27FC236}">
                <a16:creationId xmlns:a16="http://schemas.microsoft.com/office/drawing/2014/main" id="{B74C0F6E-F75F-41F1-80D8-213014E14EF0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98593" y="3581026"/>
            <a:ext cx="1355274" cy="598762"/>
          </a:xfrm>
          <a:prstGeom prst="rect">
            <a:avLst/>
          </a:prstGeom>
        </p:spPr>
      </p:pic>
      <p:pic>
        <p:nvPicPr>
          <p:cNvPr id="106" name="Picture 105">
            <a:extLst>
              <a:ext uri="{FF2B5EF4-FFF2-40B4-BE49-F238E27FC236}">
                <a16:creationId xmlns:a16="http://schemas.microsoft.com/office/drawing/2014/main" id="{B7A5B674-A6B5-49FB-AF8B-8F8EFD58BE6B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26461" y="4400054"/>
            <a:ext cx="1355274" cy="598762"/>
          </a:xfrm>
          <a:prstGeom prst="rect">
            <a:avLst/>
          </a:prstGeom>
        </p:spPr>
      </p:pic>
      <p:pic>
        <p:nvPicPr>
          <p:cNvPr id="108" name="Picture 107">
            <a:extLst>
              <a:ext uri="{FF2B5EF4-FFF2-40B4-BE49-F238E27FC236}">
                <a16:creationId xmlns:a16="http://schemas.microsoft.com/office/drawing/2014/main" id="{E78C6E4E-18F6-4387-8E24-00CDBFC797C6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05563" y="5177656"/>
            <a:ext cx="1355274" cy="598762"/>
          </a:xfrm>
          <a:prstGeom prst="rect">
            <a:avLst/>
          </a:prstGeom>
        </p:spPr>
      </p:pic>
      <p:sp>
        <p:nvSpPr>
          <p:cNvPr id="110" name="TextBox 109">
            <a:extLst>
              <a:ext uri="{FF2B5EF4-FFF2-40B4-BE49-F238E27FC236}">
                <a16:creationId xmlns:a16="http://schemas.microsoft.com/office/drawing/2014/main" id="{FED98AD2-1F10-4976-92DE-81A0FD8524D5}"/>
              </a:ext>
            </a:extLst>
          </p:cNvPr>
          <p:cNvSpPr txBox="1"/>
          <p:nvPr/>
        </p:nvSpPr>
        <p:spPr>
          <a:xfrm>
            <a:off x="6667096" y="1118356"/>
            <a:ext cx="142594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b="1" dirty="0">
                <a:solidFill>
                  <a:srgbClr val="009900"/>
                </a:solidFill>
              </a:rPr>
              <a:t>ANNL REVENUE</a:t>
            </a: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CAADAA19-5599-4CB5-8C83-FB143B69AC85}"/>
              </a:ext>
            </a:extLst>
          </p:cNvPr>
          <p:cNvSpPr txBox="1"/>
          <p:nvPr/>
        </p:nvSpPr>
        <p:spPr>
          <a:xfrm>
            <a:off x="6686935" y="1303022"/>
            <a:ext cx="135527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800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1,000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M</a:t>
            </a:r>
            <a:endParaRPr lang="en-US" sz="2800" dirty="0">
              <a:solidFill>
                <a:schemeClr val="bg1">
                  <a:lumMod val="50000"/>
                </a:schemeClr>
              </a:solidFill>
              <a:latin typeface="Bahnschrift" panose="020B0502040204020203" pitchFamily="34" charset="0"/>
              <a:cs typeface="Calibri" panose="020F0502020204030204" pitchFamily="34" charset="0"/>
            </a:endParaRP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51571833-0271-45C3-83CF-CB4067B3F7D4}"/>
              </a:ext>
            </a:extLst>
          </p:cNvPr>
          <p:cNvSpPr txBox="1"/>
          <p:nvPr/>
        </p:nvSpPr>
        <p:spPr>
          <a:xfrm>
            <a:off x="6669343" y="1930201"/>
            <a:ext cx="142594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b="1" dirty="0">
                <a:solidFill>
                  <a:srgbClr val="009900"/>
                </a:solidFill>
              </a:rPr>
              <a:t>- COGS</a:t>
            </a: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CE933D66-487C-4067-8640-1423B1F86F3D}"/>
              </a:ext>
            </a:extLst>
          </p:cNvPr>
          <p:cNvSpPr txBox="1"/>
          <p:nvPr/>
        </p:nvSpPr>
        <p:spPr>
          <a:xfrm>
            <a:off x="6689182" y="2114867"/>
            <a:ext cx="135527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800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72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%</a:t>
            </a:r>
            <a:endParaRPr lang="en-US" sz="2800" dirty="0">
              <a:solidFill>
                <a:schemeClr val="bg1">
                  <a:lumMod val="50000"/>
                </a:schemeClr>
              </a:solidFill>
              <a:latin typeface="Bahnschrift" panose="020B0502040204020203" pitchFamily="34" charset="0"/>
              <a:cs typeface="Calibri" panose="020F0502020204030204" pitchFamily="34" charset="0"/>
            </a:endParaRPr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0D91285A-9B15-42E4-8263-484CAB3D9966}"/>
              </a:ext>
            </a:extLst>
          </p:cNvPr>
          <p:cNvSpPr txBox="1"/>
          <p:nvPr/>
        </p:nvSpPr>
        <p:spPr>
          <a:xfrm>
            <a:off x="6689182" y="2780339"/>
            <a:ext cx="142594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b="1" dirty="0">
                <a:solidFill>
                  <a:srgbClr val="009900"/>
                </a:solidFill>
              </a:rPr>
              <a:t>= GROSS PROFIT</a:t>
            </a:r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id="{FF1A08B3-BE7A-41E0-9C1D-660CABFDD145}"/>
              </a:ext>
            </a:extLst>
          </p:cNvPr>
          <p:cNvSpPr txBox="1"/>
          <p:nvPr/>
        </p:nvSpPr>
        <p:spPr>
          <a:xfrm>
            <a:off x="6709021" y="2965005"/>
            <a:ext cx="135527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800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28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%</a:t>
            </a:r>
            <a:endParaRPr lang="en-US" sz="2800" dirty="0">
              <a:solidFill>
                <a:schemeClr val="bg1">
                  <a:lumMod val="50000"/>
                </a:schemeClr>
              </a:solidFill>
              <a:latin typeface="Bahnschrift" panose="020B0502040204020203" pitchFamily="34" charset="0"/>
              <a:cs typeface="Calibri" panose="020F0502020204030204" pitchFamily="34" charset="0"/>
            </a:endParaRPr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5CB32819-AE91-4DA5-AE2A-FA28981A69BE}"/>
              </a:ext>
            </a:extLst>
          </p:cNvPr>
          <p:cNvSpPr txBox="1"/>
          <p:nvPr/>
        </p:nvSpPr>
        <p:spPr>
          <a:xfrm>
            <a:off x="6661442" y="3561359"/>
            <a:ext cx="142594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b="1" dirty="0">
                <a:solidFill>
                  <a:srgbClr val="009900"/>
                </a:solidFill>
              </a:rPr>
              <a:t>- INV OPER %</a:t>
            </a: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3E4504FD-B521-4281-BCC3-76ABE36C781D}"/>
              </a:ext>
            </a:extLst>
          </p:cNvPr>
          <p:cNvSpPr txBox="1"/>
          <p:nvPr/>
        </p:nvSpPr>
        <p:spPr>
          <a:xfrm>
            <a:off x="6681281" y="3746025"/>
            <a:ext cx="135527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800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1.5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%</a:t>
            </a:r>
            <a:endParaRPr lang="en-US" sz="2800" dirty="0">
              <a:solidFill>
                <a:schemeClr val="bg1">
                  <a:lumMod val="50000"/>
                </a:schemeClr>
              </a:solidFill>
              <a:latin typeface="Bahnschrift" panose="020B0502040204020203" pitchFamily="34" charset="0"/>
              <a:cs typeface="Calibri" panose="020F0502020204030204" pitchFamily="34" charset="0"/>
            </a:endParaRPr>
          </a:p>
        </p:txBody>
      </p:sp>
      <p:sp>
        <p:nvSpPr>
          <p:cNvPr id="126" name="TextBox 125">
            <a:extLst>
              <a:ext uri="{FF2B5EF4-FFF2-40B4-BE49-F238E27FC236}">
                <a16:creationId xmlns:a16="http://schemas.microsoft.com/office/drawing/2014/main" id="{994652B7-3F06-4E14-8652-C9B5FDC0976D}"/>
              </a:ext>
            </a:extLst>
          </p:cNvPr>
          <p:cNvSpPr txBox="1"/>
          <p:nvPr/>
        </p:nvSpPr>
        <p:spPr>
          <a:xfrm>
            <a:off x="6674463" y="4430831"/>
            <a:ext cx="142594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b="1" dirty="0">
                <a:solidFill>
                  <a:srgbClr val="009900"/>
                </a:solidFill>
              </a:rPr>
              <a:t>- GEN OPER %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41A10A12-FEAF-4789-9E60-7A922E5D68E8}"/>
              </a:ext>
            </a:extLst>
          </p:cNvPr>
          <p:cNvSpPr txBox="1"/>
          <p:nvPr/>
        </p:nvSpPr>
        <p:spPr>
          <a:xfrm>
            <a:off x="6694302" y="4615497"/>
            <a:ext cx="135527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800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23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%</a:t>
            </a:r>
            <a:endParaRPr lang="en-US" sz="2800" dirty="0">
              <a:solidFill>
                <a:schemeClr val="bg1">
                  <a:lumMod val="50000"/>
                </a:schemeClr>
              </a:solidFill>
              <a:latin typeface="Bahnschrift" panose="020B0502040204020203" pitchFamily="34" charset="0"/>
              <a:cs typeface="Calibri" panose="020F0502020204030204" pitchFamily="34" charset="0"/>
            </a:endParaRP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6AD863B9-2F44-4CC7-85F4-3849503DE72F}"/>
              </a:ext>
            </a:extLst>
          </p:cNvPr>
          <p:cNvSpPr txBox="1"/>
          <p:nvPr/>
        </p:nvSpPr>
        <p:spPr>
          <a:xfrm>
            <a:off x="6677047" y="5230193"/>
            <a:ext cx="142594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b="1" dirty="0">
                <a:solidFill>
                  <a:srgbClr val="009900"/>
                </a:solidFill>
              </a:rPr>
              <a:t>= NET PROFIT</a:t>
            </a:r>
          </a:p>
        </p:txBody>
      </p:sp>
      <p:sp>
        <p:nvSpPr>
          <p:cNvPr id="132" name="TextBox 131">
            <a:extLst>
              <a:ext uri="{FF2B5EF4-FFF2-40B4-BE49-F238E27FC236}">
                <a16:creationId xmlns:a16="http://schemas.microsoft.com/office/drawing/2014/main" id="{098473E3-1B35-4AF3-8F3D-078FF21EF33D}"/>
              </a:ext>
            </a:extLst>
          </p:cNvPr>
          <p:cNvSpPr txBox="1"/>
          <p:nvPr/>
        </p:nvSpPr>
        <p:spPr>
          <a:xfrm>
            <a:off x="6696886" y="5414859"/>
            <a:ext cx="135527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800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3.5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%</a:t>
            </a:r>
            <a:endParaRPr lang="en-US" sz="2800" dirty="0">
              <a:solidFill>
                <a:schemeClr val="bg1">
                  <a:lumMod val="50000"/>
                </a:schemeClr>
              </a:solidFill>
              <a:latin typeface="Bahnschrift" panose="020B0502040204020203" pitchFamily="34" charset="0"/>
              <a:cs typeface="Calibri" panose="020F0502020204030204" pitchFamily="34" charset="0"/>
            </a:endParaRPr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id="{2C8E687A-A240-48FF-B965-93B73ED0B57F}"/>
              </a:ext>
            </a:extLst>
          </p:cNvPr>
          <p:cNvSpPr txBox="1"/>
          <p:nvPr/>
        </p:nvSpPr>
        <p:spPr>
          <a:xfrm>
            <a:off x="820459" y="4322892"/>
            <a:ext cx="4191666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4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VENTORY SECTORS</a:t>
            </a:r>
          </a:p>
        </p:txBody>
      </p:sp>
      <p:pic>
        <p:nvPicPr>
          <p:cNvPr id="136" name="Picture 135">
            <a:extLst>
              <a:ext uri="{FF2B5EF4-FFF2-40B4-BE49-F238E27FC236}">
                <a16:creationId xmlns:a16="http://schemas.microsoft.com/office/drawing/2014/main" id="{FCA6E7C3-EEF9-4C4F-A721-BBD766965EC7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0459" y="4898149"/>
            <a:ext cx="947018" cy="468003"/>
          </a:xfrm>
          <a:prstGeom prst="rect">
            <a:avLst/>
          </a:prstGeom>
        </p:spPr>
      </p:pic>
      <p:pic>
        <p:nvPicPr>
          <p:cNvPr id="138" name="Picture 137">
            <a:extLst>
              <a:ext uri="{FF2B5EF4-FFF2-40B4-BE49-F238E27FC236}">
                <a16:creationId xmlns:a16="http://schemas.microsoft.com/office/drawing/2014/main" id="{A83C21CF-3C0B-4874-AE20-249EE8CF75EB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47865" y="4898149"/>
            <a:ext cx="947018" cy="468003"/>
          </a:xfrm>
          <a:prstGeom prst="rect">
            <a:avLst/>
          </a:prstGeom>
        </p:spPr>
      </p:pic>
      <p:pic>
        <p:nvPicPr>
          <p:cNvPr id="140" name="Picture 139">
            <a:extLst>
              <a:ext uri="{FF2B5EF4-FFF2-40B4-BE49-F238E27FC236}">
                <a16:creationId xmlns:a16="http://schemas.microsoft.com/office/drawing/2014/main" id="{288B6CE4-E7F0-4F51-BDF2-63DFB3C60B50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75271" y="4898149"/>
            <a:ext cx="947018" cy="468003"/>
          </a:xfrm>
          <a:prstGeom prst="rect">
            <a:avLst/>
          </a:prstGeom>
        </p:spPr>
      </p:pic>
      <p:pic>
        <p:nvPicPr>
          <p:cNvPr id="142" name="Picture 141">
            <a:extLst>
              <a:ext uri="{FF2B5EF4-FFF2-40B4-BE49-F238E27FC236}">
                <a16:creationId xmlns:a16="http://schemas.microsoft.com/office/drawing/2014/main" id="{7838EC47-628F-4DF3-BB52-46D6C73D623A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30787" y="4898149"/>
            <a:ext cx="947018" cy="468003"/>
          </a:xfrm>
          <a:prstGeom prst="rect">
            <a:avLst/>
          </a:prstGeom>
        </p:spPr>
      </p:pic>
      <p:pic>
        <p:nvPicPr>
          <p:cNvPr id="144" name="Picture 143">
            <a:extLst>
              <a:ext uri="{FF2B5EF4-FFF2-40B4-BE49-F238E27FC236}">
                <a16:creationId xmlns:a16="http://schemas.microsoft.com/office/drawing/2014/main" id="{B406BC22-D1E6-4F17-925D-AFFA0B190CA1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58193" y="4898149"/>
            <a:ext cx="947018" cy="468003"/>
          </a:xfrm>
          <a:prstGeom prst="rect">
            <a:avLst/>
          </a:prstGeom>
        </p:spPr>
      </p:pic>
      <p:pic>
        <p:nvPicPr>
          <p:cNvPr id="146" name="Picture 145">
            <a:extLst>
              <a:ext uri="{FF2B5EF4-FFF2-40B4-BE49-F238E27FC236}">
                <a16:creationId xmlns:a16="http://schemas.microsoft.com/office/drawing/2014/main" id="{A2D1E5B2-A141-4D63-BF33-0B2659A097F0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5857" y="5521463"/>
            <a:ext cx="947018" cy="468003"/>
          </a:xfrm>
          <a:prstGeom prst="rect">
            <a:avLst/>
          </a:prstGeom>
        </p:spPr>
      </p:pic>
      <p:pic>
        <p:nvPicPr>
          <p:cNvPr id="148" name="Picture 147">
            <a:extLst>
              <a:ext uri="{FF2B5EF4-FFF2-40B4-BE49-F238E27FC236}">
                <a16:creationId xmlns:a16="http://schemas.microsoft.com/office/drawing/2014/main" id="{76D3C9CF-9BA0-4061-BBC8-9ECA44F28D2E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53263" y="5521463"/>
            <a:ext cx="947018" cy="468003"/>
          </a:xfrm>
          <a:prstGeom prst="rect">
            <a:avLst/>
          </a:prstGeom>
        </p:spPr>
      </p:pic>
      <p:pic>
        <p:nvPicPr>
          <p:cNvPr id="150" name="Picture 149">
            <a:extLst>
              <a:ext uri="{FF2B5EF4-FFF2-40B4-BE49-F238E27FC236}">
                <a16:creationId xmlns:a16="http://schemas.microsoft.com/office/drawing/2014/main" id="{9A432584-B7A3-43BE-B641-25C296663911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80669" y="5521463"/>
            <a:ext cx="947018" cy="468003"/>
          </a:xfrm>
          <a:prstGeom prst="rect">
            <a:avLst/>
          </a:prstGeom>
        </p:spPr>
      </p:pic>
      <p:pic>
        <p:nvPicPr>
          <p:cNvPr id="152" name="Picture 151">
            <a:extLst>
              <a:ext uri="{FF2B5EF4-FFF2-40B4-BE49-F238E27FC236}">
                <a16:creationId xmlns:a16="http://schemas.microsoft.com/office/drawing/2014/main" id="{683F37DB-B8C4-442F-9373-AB7A9E408882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36185" y="5521463"/>
            <a:ext cx="947018" cy="468003"/>
          </a:xfrm>
          <a:prstGeom prst="rect">
            <a:avLst/>
          </a:prstGeom>
        </p:spPr>
      </p:pic>
      <p:pic>
        <p:nvPicPr>
          <p:cNvPr id="154" name="Picture 153">
            <a:extLst>
              <a:ext uri="{FF2B5EF4-FFF2-40B4-BE49-F238E27FC236}">
                <a16:creationId xmlns:a16="http://schemas.microsoft.com/office/drawing/2014/main" id="{1D70643D-B593-4D11-83B7-B4F95714A23C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63591" y="5521463"/>
            <a:ext cx="947018" cy="468003"/>
          </a:xfrm>
          <a:prstGeom prst="rect">
            <a:avLst/>
          </a:prstGeom>
        </p:spPr>
      </p:pic>
      <p:pic>
        <p:nvPicPr>
          <p:cNvPr id="156" name="Picture 155">
            <a:extLst>
              <a:ext uri="{FF2B5EF4-FFF2-40B4-BE49-F238E27FC236}">
                <a16:creationId xmlns:a16="http://schemas.microsoft.com/office/drawing/2014/main" id="{A66513C2-3B0F-4228-8F33-00AE0AE8B93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2514" y="4962250"/>
            <a:ext cx="759266" cy="335445"/>
          </a:xfrm>
          <a:prstGeom prst="rect">
            <a:avLst/>
          </a:prstGeom>
        </p:spPr>
      </p:pic>
      <p:pic>
        <p:nvPicPr>
          <p:cNvPr id="158" name="Picture 157">
            <a:extLst>
              <a:ext uri="{FF2B5EF4-FFF2-40B4-BE49-F238E27FC236}">
                <a16:creationId xmlns:a16="http://schemas.microsoft.com/office/drawing/2014/main" id="{CAFE9321-D168-4ADA-9238-2BE000820B89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41565" y="4977052"/>
            <a:ext cx="759266" cy="335445"/>
          </a:xfrm>
          <a:prstGeom prst="rect">
            <a:avLst/>
          </a:prstGeom>
        </p:spPr>
      </p:pic>
      <p:pic>
        <p:nvPicPr>
          <p:cNvPr id="160" name="Picture 159">
            <a:extLst>
              <a:ext uri="{FF2B5EF4-FFF2-40B4-BE49-F238E27FC236}">
                <a16:creationId xmlns:a16="http://schemas.microsoft.com/office/drawing/2014/main" id="{423AC420-6F3F-42FA-8808-1389812D34A6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80561" y="4957590"/>
            <a:ext cx="759266" cy="335445"/>
          </a:xfrm>
          <a:prstGeom prst="rect">
            <a:avLst/>
          </a:prstGeom>
        </p:spPr>
      </p:pic>
      <p:pic>
        <p:nvPicPr>
          <p:cNvPr id="162" name="Picture 161">
            <a:extLst>
              <a:ext uri="{FF2B5EF4-FFF2-40B4-BE49-F238E27FC236}">
                <a16:creationId xmlns:a16="http://schemas.microsoft.com/office/drawing/2014/main" id="{A98A5FE8-44C9-4972-924E-C523F304A3DB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02673" y="4952594"/>
            <a:ext cx="759266" cy="335445"/>
          </a:xfrm>
          <a:prstGeom prst="rect">
            <a:avLst/>
          </a:prstGeom>
        </p:spPr>
      </p:pic>
      <p:pic>
        <p:nvPicPr>
          <p:cNvPr id="164" name="Picture 163">
            <a:extLst>
              <a:ext uri="{FF2B5EF4-FFF2-40B4-BE49-F238E27FC236}">
                <a16:creationId xmlns:a16="http://schemas.microsoft.com/office/drawing/2014/main" id="{0188B831-8AD0-45CA-8A3D-A2A1CF9612C6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30802" y="4965368"/>
            <a:ext cx="759266" cy="335445"/>
          </a:xfrm>
          <a:prstGeom prst="rect">
            <a:avLst/>
          </a:prstGeom>
        </p:spPr>
      </p:pic>
      <p:pic>
        <p:nvPicPr>
          <p:cNvPr id="166" name="Picture 165">
            <a:extLst>
              <a:ext uri="{FF2B5EF4-FFF2-40B4-BE49-F238E27FC236}">
                <a16:creationId xmlns:a16="http://schemas.microsoft.com/office/drawing/2014/main" id="{A91D9E03-1FA6-48F8-9547-D891C69325E1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79878" y="5599935"/>
            <a:ext cx="759266" cy="335445"/>
          </a:xfrm>
          <a:prstGeom prst="rect">
            <a:avLst/>
          </a:prstGeom>
        </p:spPr>
      </p:pic>
      <p:pic>
        <p:nvPicPr>
          <p:cNvPr id="168" name="Picture 167">
            <a:extLst>
              <a:ext uri="{FF2B5EF4-FFF2-40B4-BE49-F238E27FC236}">
                <a16:creationId xmlns:a16="http://schemas.microsoft.com/office/drawing/2014/main" id="{6A453293-3FF9-4884-918B-951408BE3620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38929" y="5599239"/>
            <a:ext cx="759266" cy="335445"/>
          </a:xfrm>
          <a:prstGeom prst="rect">
            <a:avLst/>
          </a:prstGeom>
        </p:spPr>
      </p:pic>
      <p:pic>
        <p:nvPicPr>
          <p:cNvPr id="170" name="Picture 169">
            <a:extLst>
              <a:ext uri="{FF2B5EF4-FFF2-40B4-BE49-F238E27FC236}">
                <a16:creationId xmlns:a16="http://schemas.microsoft.com/office/drawing/2014/main" id="{1913B93B-CE12-4641-AE62-28A654B87688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77925" y="5595275"/>
            <a:ext cx="759266" cy="335445"/>
          </a:xfrm>
          <a:prstGeom prst="rect">
            <a:avLst/>
          </a:prstGeom>
        </p:spPr>
      </p:pic>
      <p:pic>
        <p:nvPicPr>
          <p:cNvPr id="172" name="Picture 171">
            <a:extLst>
              <a:ext uri="{FF2B5EF4-FFF2-40B4-BE49-F238E27FC236}">
                <a16:creationId xmlns:a16="http://schemas.microsoft.com/office/drawing/2014/main" id="{47E21C2D-BF8F-4028-A182-D21FB8AA4E9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00037" y="5590279"/>
            <a:ext cx="759266" cy="335445"/>
          </a:xfrm>
          <a:prstGeom prst="rect">
            <a:avLst/>
          </a:prstGeom>
        </p:spPr>
      </p:pic>
      <p:pic>
        <p:nvPicPr>
          <p:cNvPr id="174" name="Picture 173">
            <a:extLst>
              <a:ext uri="{FF2B5EF4-FFF2-40B4-BE49-F238E27FC236}">
                <a16:creationId xmlns:a16="http://schemas.microsoft.com/office/drawing/2014/main" id="{DDA584F8-523C-410A-9E03-E54C750A3266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28166" y="5603053"/>
            <a:ext cx="759266" cy="335445"/>
          </a:xfrm>
          <a:prstGeom prst="rect">
            <a:avLst/>
          </a:prstGeom>
        </p:spPr>
      </p:pic>
      <p:sp>
        <p:nvSpPr>
          <p:cNvPr id="176" name="TextBox 175">
            <a:extLst>
              <a:ext uri="{FF2B5EF4-FFF2-40B4-BE49-F238E27FC236}">
                <a16:creationId xmlns:a16="http://schemas.microsoft.com/office/drawing/2014/main" id="{3166F7D7-716A-45EB-A8D6-DF3EC5FC01EA}"/>
              </a:ext>
            </a:extLst>
          </p:cNvPr>
          <p:cNvSpPr txBox="1"/>
          <p:nvPr/>
        </p:nvSpPr>
        <p:spPr>
          <a:xfrm>
            <a:off x="820459" y="4919709"/>
            <a:ext cx="95241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b="1" dirty="0">
                <a:solidFill>
                  <a:srgbClr val="009900"/>
                </a:solidFill>
              </a:rPr>
              <a:t>NET INCOME</a:t>
            </a:r>
          </a:p>
        </p:txBody>
      </p:sp>
      <p:sp>
        <p:nvSpPr>
          <p:cNvPr id="178" name="TextBox 177">
            <a:extLst>
              <a:ext uri="{FF2B5EF4-FFF2-40B4-BE49-F238E27FC236}">
                <a16:creationId xmlns:a16="http://schemas.microsoft.com/office/drawing/2014/main" id="{9FAB2055-69FE-4134-AD07-3BD7A6F343E8}"/>
              </a:ext>
            </a:extLst>
          </p:cNvPr>
          <p:cNvSpPr txBox="1"/>
          <p:nvPr/>
        </p:nvSpPr>
        <p:spPr>
          <a:xfrm>
            <a:off x="831026" y="5057388"/>
            <a:ext cx="93268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5.3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%</a:t>
            </a:r>
            <a:endParaRPr lang="en-US" dirty="0">
              <a:solidFill>
                <a:schemeClr val="bg1">
                  <a:lumMod val="50000"/>
                </a:schemeClr>
              </a:solidFill>
              <a:latin typeface="Bahnschrift" panose="020B0502040204020203" pitchFamily="34" charset="0"/>
              <a:cs typeface="Calibri" panose="020F0502020204030204" pitchFamily="34" charset="0"/>
            </a:endParaRPr>
          </a:p>
        </p:txBody>
      </p:sp>
      <p:sp>
        <p:nvSpPr>
          <p:cNvPr id="180" name="TextBox 179">
            <a:extLst>
              <a:ext uri="{FF2B5EF4-FFF2-40B4-BE49-F238E27FC236}">
                <a16:creationId xmlns:a16="http://schemas.microsoft.com/office/drawing/2014/main" id="{16096663-0FF3-4E35-8DAE-F50E39A0E249}"/>
              </a:ext>
            </a:extLst>
          </p:cNvPr>
          <p:cNvSpPr txBox="1"/>
          <p:nvPr/>
        </p:nvSpPr>
        <p:spPr>
          <a:xfrm>
            <a:off x="1855938" y="4917075"/>
            <a:ext cx="95241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b="1" dirty="0">
                <a:solidFill>
                  <a:srgbClr val="009900"/>
                </a:solidFill>
              </a:rPr>
              <a:t>NET INCOME</a:t>
            </a:r>
          </a:p>
        </p:txBody>
      </p:sp>
      <p:sp>
        <p:nvSpPr>
          <p:cNvPr id="182" name="TextBox 181">
            <a:extLst>
              <a:ext uri="{FF2B5EF4-FFF2-40B4-BE49-F238E27FC236}">
                <a16:creationId xmlns:a16="http://schemas.microsoft.com/office/drawing/2014/main" id="{F64AA400-BD47-4BFC-B57F-3D73B029EE50}"/>
              </a:ext>
            </a:extLst>
          </p:cNvPr>
          <p:cNvSpPr txBox="1"/>
          <p:nvPr/>
        </p:nvSpPr>
        <p:spPr>
          <a:xfrm>
            <a:off x="1866505" y="5054754"/>
            <a:ext cx="93268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-1.5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%</a:t>
            </a:r>
            <a:endParaRPr lang="en-US" dirty="0">
              <a:solidFill>
                <a:schemeClr val="bg1">
                  <a:lumMod val="50000"/>
                </a:schemeClr>
              </a:solidFill>
              <a:latin typeface="Bahnschrift" panose="020B0502040204020203" pitchFamily="34" charset="0"/>
              <a:cs typeface="Calibri" panose="020F0502020204030204" pitchFamily="34" charset="0"/>
            </a:endParaRPr>
          </a:p>
        </p:txBody>
      </p:sp>
      <p:sp>
        <p:nvSpPr>
          <p:cNvPr id="184" name="TextBox 183">
            <a:extLst>
              <a:ext uri="{FF2B5EF4-FFF2-40B4-BE49-F238E27FC236}">
                <a16:creationId xmlns:a16="http://schemas.microsoft.com/office/drawing/2014/main" id="{765AFC6A-1B9A-4488-BC18-72B1FB215F70}"/>
              </a:ext>
            </a:extLst>
          </p:cNvPr>
          <p:cNvSpPr txBox="1"/>
          <p:nvPr/>
        </p:nvSpPr>
        <p:spPr>
          <a:xfrm>
            <a:off x="2863969" y="4922435"/>
            <a:ext cx="95241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b="1" dirty="0">
                <a:solidFill>
                  <a:srgbClr val="009900"/>
                </a:solidFill>
              </a:rPr>
              <a:t>NET INCOME</a:t>
            </a:r>
          </a:p>
        </p:txBody>
      </p:sp>
      <p:sp>
        <p:nvSpPr>
          <p:cNvPr id="186" name="TextBox 185">
            <a:extLst>
              <a:ext uri="{FF2B5EF4-FFF2-40B4-BE49-F238E27FC236}">
                <a16:creationId xmlns:a16="http://schemas.microsoft.com/office/drawing/2014/main" id="{3F9D1FE2-8582-4034-B461-3146CC6C1A77}"/>
              </a:ext>
            </a:extLst>
          </p:cNvPr>
          <p:cNvSpPr txBox="1"/>
          <p:nvPr/>
        </p:nvSpPr>
        <p:spPr>
          <a:xfrm>
            <a:off x="2874536" y="5060114"/>
            <a:ext cx="93268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2.2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%</a:t>
            </a:r>
            <a:endParaRPr lang="en-US" dirty="0">
              <a:solidFill>
                <a:schemeClr val="bg1">
                  <a:lumMod val="50000"/>
                </a:schemeClr>
              </a:solidFill>
              <a:latin typeface="Bahnschrift" panose="020B0502040204020203" pitchFamily="34" charset="0"/>
              <a:cs typeface="Calibri" panose="020F0502020204030204" pitchFamily="34" charset="0"/>
            </a:endParaRPr>
          </a:p>
        </p:txBody>
      </p:sp>
      <p:sp>
        <p:nvSpPr>
          <p:cNvPr id="188" name="TextBox 187">
            <a:extLst>
              <a:ext uri="{FF2B5EF4-FFF2-40B4-BE49-F238E27FC236}">
                <a16:creationId xmlns:a16="http://schemas.microsoft.com/office/drawing/2014/main" id="{36D94097-2B79-4CDA-BFF7-9AAD53C923B2}"/>
              </a:ext>
            </a:extLst>
          </p:cNvPr>
          <p:cNvSpPr txBox="1"/>
          <p:nvPr/>
        </p:nvSpPr>
        <p:spPr>
          <a:xfrm>
            <a:off x="3916281" y="4917075"/>
            <a:ext cx="95241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b="1" dirty="0">
                <a:solidFill>
                  <a:srgbClr val="009900"/>
                </a:solidFill>
              </a:rPr>
              <a:t>NET INCOME</a:t>
            </a:r>
          </a:p>
        </p:txBody>
      </p:sp>
      <p:sp>
        <p:nvSpPr>
          <p:cNvPr id="190" name="TextBox 189">
            <a:extLst>
              <a:ext uri="{FF2B5EF4-FFF2-40B4-BE49-F238E27FC236}">
                <a16:creationId xmlns:a16="http://schemas.microsoft.com/office/drawing/2014/main" id="{67538827-5FC7-4A45-9CBD-50CFDE8F11C1}"/>
              </a:ext>
            </a:extLst>
          </p:cNvPr>
          <p:cNvSpPr txBox="1"/>
          <p:nvPr/>
        </p:nvSpPr>
        <p:spPr>
          <a:xfrm>
            <a:off x="3926848" y="5054754"/>
            <a:ext cx="93268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4.7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%</a:t>
            </a:r>
            <a:endParaRPr lang="en-US" dirty="0">
              <a:solidFill>
                <a:schemeClr val="bg1">
                  <a:lumMod val="50000"/>
                </a:schemeClr>
              </a:solidFill>
              <a:latin typeface="Bahnschrift" panose="020B0502040204020203" pitchFamily="34" charset="0"/>
              <a:cs typeface="Calibri" panose="020F0502020204030204" pitchFamily="34" charset="0"/>
            </a:endParaRPr>
          </a:p>
        </p:txBody>
      </p:sp>
      <p:sp>
        <p:nvSpPr>
          <p:cNvPr id="192" name="TextBox 191">
            <a:extLst>
              <a:ext uri="{FF2B5EF4-FFF2-40B4-BE49-F238E27FC236}">
                <a16:creationId xmlns:a16="http://schemas.microsoft.com/office/drawing/2014/main" id="{F6C19966-1985-45ED-AFCF-64C3A29CF859}"/>
              </a:ext>
            </a:extLst>
          </p:cNvPr>
          <p:cNvSpPr txBox="1"/>
          <p:nvPr/>
        </p:nvSpPr>
        <p:spPr>
          <a:xfrm>
            <a:off x="4956053" y="4908950"/>
            <a:ext cx="95241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b="1" dirty="0">
                <a:solidFill>
                  <a:srgbClr val="009900"/>
                </a:solidFill>
              </a:rPr>
              <a:t>NET INCOME</a:t>
            </a:r>
          </a:p>
        </p:txBody>
      </p:sp>
      <p:sp>
        <p:nvSpPr>
          <p:cNvPr id="194" name="TextBox 193">
            <a:extLst>
              <a:ext uri="{FF2B5EF4-FFF2-40B4-BE49-F238E27FC236}">
                <a16:creationId xmlns:a16="http://schemas.microsoft.com/office/drawing/2014/main" id="{F1470AA5-3DAA-4F25-984C-C747DF3A5120}"/>
              </a:ext>
            </a:extLst>
          </p:cNvPr>
          <p:cNvSpPr txBox="1"/>
          <p:nvPr/>
        </p:nvSpPr>
        <p:spPr>
          <a:xfrm>
            <a:off x="4966620" y="5046629"/>
            <a:ext cx="93268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5.8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%</a:t>
            </a:r>
            <a:endParaRPr lang="en-US" dirty="0">
              <a:solidFill>
                <a:schemeClr val="bg1">
                  <a:lumMod val="50000"/>
                </a:schemeClr>
              </a:solidFill>
              <a:latin typeface="Bahnschrift" panose="020B0502040204020203" pitchFamily="34" charset="0"/>
              <a:cs typeface="Calibri" panose="020F0502020204030204" pitchFamily="34" charset="0"/>
            </a:endParaRPr>
          </a:p>
        </p:txBody>
      </p:sp>
      <p:pic>
        <p:nvPicPr>
          <p:cNvPr id="196" name="Picture 195">
            <a:extLst>
              <a:ext uri="{FF2B5EF4-FFF2-40B4-BE49-F238E27FC236}">
                <a16:creationId xmlns:a16="http://schemas.microsoft.com/office/drawing/2014/main" id="{92A287CA-D0D2-4721-A899-61381A900301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0353" y="5595246"/>
            <a:ext cx="759266" cy="335445"/>
          </a:xfrm>
          <a:prstGeom prst="rect">
            <a:avLst/>
          </a:prstGeom>
        </p:spPr>
      </p:pic>
      <p:pic>
        <p:nvPicPr>
          <p:cNvPr id="198" name="Picture 197">
            <a:extLst>
              <a:ext uri="{FF2B5EF4-FFF2-40B4-BE49-F238E27FC236}">
                <a16:creationId xmlns:a16="http://schemas.microsoft.com/office/drawing/2014/main" id="{A851E095-4E7D-4C14-B323-8D4E85FAA7A1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59404" y="5610048"/>
            <a:ext cx="759266" cy="335445"/>
          </a:xfrm>
          <a:prstGeom prst="rect">
            <a:avLst/>
          </a:prstGeom>
        </p:spPr>
      </p:pic>
      <p:pic>
        <p:nvPicPr>
          <p:cNvPr id="200" name="Picture 199">
            <a:extLst>
              <a:ext uri="{FF2B5EF4-FFF2-40B4-BE49-F238E27FC236}">
                <a16:creationId xmlns:a16="http://schemas.microsoft.com/office/drawing/2014/main" id="{50FD0862-9ABD-44FD-B7AD-1D3A2D7D6ADA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98400" y="5590586"/>
            <a:ext cx="759266" cy="335445"/>
          </a:xfrm>
          <a:prstGeom prst="rect">
            <a:avLst/>
          </a:prstGeom>
        </p:spPr>
      </p:pic>
      <p:pic>
        <p:nvPicPr>
          <p:cNvPr id="202" name="Picture 201">
            <a:extLst>
              <a:ext uri="{FF2B5EF4-FFF2-40B4-BE49-F238E27FC236}">
                <a16:creationId xmlns:a16="http://schemas.microsoft.com/office/drawing/2014/main" id="{DA76A16F-E6E8-439E-A976-E93F616B4F3E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20512" y="5585590"/>
            <a:ext cx="759266" cy="335445"/>
          </a:xfrm>
          <a:prstGeom prst="rect">
            <a:avLst/>
          </a:prstGeom>
        </p:spPr>
      </p:pic>
      <p:pic>
        <p:nvPicPr>
          <p:cNvPr id="204" name="Picture 203">
            <a:extLst>
              <a:ext uri="{FF2B5EF4-FFF2-40B4-BE49-F238E27FC236}">
                <a16:creationId xmlns:a16="http://schemas.microsoft.com/office/drawing/2014/main" id="{F78CA3FA-F9C1-452E-BB45-48E3943C546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48641" y="5598364"/>
            <a:ext cx="759266" cy="335445"/>
          </a:xfrm>
          <a:prstGeom prst="rect">
            <a:avLst/>
          </a:prstGeom>
        </p:spPr>
      </p:pic>
      <p:sp>
        <p:nvSpPr>
          <p:cNvPr id="206" name="TextBox 205">
            <a:extLst>
              <a:ext uri="{FF2B5EF4-FFF2-40B4-BE49-F238E27FC236}">
                <a16:creationId xmlns:a16="http://schemas.microsoft.com/office/drawing/2014/main" id="{A6BE1282-3560-4F79-B384-A8FC60628262}"/>
              </a:ext>
            </a:extLst>
          </p:cNvPr>
          <p:cNvSpPr txBox="1"/>
          <p:nvPr/>
        </p:nvSpPr>
        <p:spPr>
          <a:xfrm>
            <a:off x="838298" y="5552705"/>
            <a:ext cx="95241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b="1" dirty="0">
                <a:solidFill>
                  <a:srgbClr val="009900"/>
                </a:solidFill>
              </a:rPr>
              <a:t>NET INCOME</a:t>
            </a:r>
          </a:p>
        </p:txBody>
      </p:sp>
      <p:sp>
        <p:nvSpPr>
          <p:cNvPr id="208" name="TextBox 207">
            <a:extLst>
              <a:ext uri="{FF2B5EF4-FFF2-40B4-BE49-F238E27FC236}">
                <a16:creationId xmlns:a16="http://schemas.microsoft.com/office/drawing/2014/main" id="{7907D186-5587-4A5A-B0A2-400DE4218E1A}"/>
              </a:ext>
            </a:extLst>
          </p:cNvPr>
          <p:cNvSpPr txBox="1"/>
          <p:nvPr/>
        </p:nvSpPr>
        <p:spPr>
          <a:xfrm>
            <a:off x="848865" y="5690384"/>
            <a:ext cx="93268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3.8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%</a:t>
            </a:r>
            <a:endParaRPr lang="en-US" dirty="0">
              <a:solidFill>
                <a:schemeClr val="bg1">
                  <a:lumMod val="50000"/>
                </a:schemeClr>
              </a:solidFill>
              <a:latin typeface="Bahnschrift" panose="020B0502040204020203" pitchFamily="34" charset="0"/>
              <a:cs typeface="Calibri" panose="020F0502020204030204" pitchFamily="34" charset="0"/>
            </a:endParaRPr>
          </a:p>
        </p:txBody>
      </p:sp>
      <p:sp>
        <p:nvSpPr>
          <p:cNvPr id="210" name="TextBox 209">
            <a:extLst>
              <a:ext uri="{FF2B5EF4-FFF2-40B4-BE49-F238E27FC236}">
                <a16:creationId xmlns:a16="http://schemas.microsoft.com/office/drawing/2014/main" id="{7125AEEF-9F5D-4CE1-880E-FFB4B8335156}"/>
              </a:ext>
            </a:extLst>
          </p:cNvPr>
          <p:cNvSpPr txBox="1"/>
          <p:nvPr/>
        </p:nvSpPr>
        <p:spPr>
          <a:xfrm>
            <a:off x="1873777" y="5550071"/>
            <a:ext cx="95241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b="1" dirty="0">
                <a:solidFill>
                  <a:srgbClr val="009900"/>
                </a:solidFill>
              </a:rPr>
              <a:t>NET INCOME</a:t>
            </a:r>
          </a:p>
        </p:txBody>
      </p:sp>
      <p:sp>
        <p:nvSpPr>
          <p:cNvPr id="212" name="TextBox 211">
            <a:extLst>
              <a:ext uri="{FF2B5EF4-FFF2-40B4-BE49-F238E27FC236}">
                <a16:creationId xmlns:a16="http://schemas.microsoft.com/office/drawing/2014/main" id="{E925259B-27A0-402C-AEF6-3B2AF6EA42E2}"/>
              </a:ext>
            </a:extLst>
          </p:cNvPr>
          <p:cNvSpPr txBox="1"/>
          <p:nvPr/>
        </p:nvSpPr>
        <p:spPr>
          <a:xfrm>
            <a:off x="1884344" y="5687750"/>
            <a:ext cx="93268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2.2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%</a:t>
            </a:r>
            <a:endParaRPr lang="en-US" dirty="0">
              <a:solidFill>
                <a:schemeClr val="bg1">
                  <a:lumMod val="50000"/>
                </a:schemeClr>
              </a:solidFill>
              <a:latin typeface="Bahnschrift" panose="020B0502040204020203" pitchFamily="34" charset="0"/>
              <a:cs typeface="Calibri" panose="020F0502020204030204" pitchFamily="34" charset="0"/>
            </a:endParaRPr>
          </a:p>
        </p:txBody>
      </p:sp>
      <p:sp>
        <p:nvSpPr>
          <p:cNvPr id="214" name="TextBox 213">
            <a:extLst>
              <a:ext uri="{FF2B5EF4-FFF2-40B4-BE49-F238E27FC236}">
                <a16:creationId xmlns:a16="http://schemas.microsoft.com/office/drawing/2014/main" id="{3B326158-DD47-4D9A-9ED9-B4ECF12C1C26}"/>
              </a:ext>
            </a:extLst>
          </p:cNvPr>
          <p:cNvSpPr txBox="1"/>
          <p:nvPr/>
        </p:nvSpPr>
        <p:spPr>
          <a:xfrm>
            <a:off x="2881808" y="5555431"/>
            <a:ext cx="95241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b="1" dirty="0">
                <a:solidFill>
                  <a:srgbClr val="009900"/>
                </a:solidFill>
              </a:rPr>
              <a:t>NET INCOME</a:t>
            </a:r>
          </a:p>
        </p:txBody>
      </p:sp>
      <p:sp>
        <p:nvSpPr>
          <p:cNvPr id="216" name="TextBox 215">
            <a:extLst>
              <a:ext uri="{FF2B5EF4-FFF2-40B4-BE49-F238E27FC236}">
                <a16:creationId xmlns:a16="http://schemas.microsoft.com/office/drawing/2014/main" id="{58E24267-BA23-487A-BF6B-B1EA6B5BFE2B}"/>
              </a:ext>
            </a:extLst>
          </p:cNvPr>
          <p:cNvSpPr txBox="1"/>
          <p:nvPr/>
        </p:nvSpPr>
        <p:spPr>
          <a:xfrm>
            <a:off x="2892375" y="5693110"/>
            <a:ext cx="93268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1.1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%</a:t>
            </a:r>
            <a:endParaRPr lang="en-US" dirty="0">
              <a:solidFill>
                <a:schemeClr val="bg1">
                  <a:lumMod val="50000"/>
                </a:schemeClr>
              </a:solidFill>
              <a:latin typeface="Bahnschrift" panose="020B0502040204020203" pitchFamily="34" charset="0"/>
              <a:cs typeface="Calibri" panose="020F0502020204030204" pitchFamily="34" charset="0"/>
            </a:endParaRPr>
          </a:p>
        </p:txBody>
      </p:sp>
      <p:sp>
        <p:nvSpPr>
          <p:cNvPr id="218" name="TextBox 217">
            <a:extLst>
              <a:ext uri="{FF2B5EF4-FFF2-40B4-BE49-F238E27FC236}">
                <a16:creationId xmlns:a16="http://schemas.microsoft.com/office/drawing/2014/main" id="{E0A19128-C0B5-4026-AD32-73A717F3053A}"/>
              </a:ext>
            </a:extLst>
          </p:cNvPr>
          <p:cNvSpPr txBox="1"/>
          <p:nvPr/>
        </p:nvSpPr>
        <p:spPr>
          <a:xfrm>
            <a:off x="3934120" y="5550071"/>
            <a:ext cx="95241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b="1" dirty="0">
                <a:solidFill>
                  <a:srgbClr val="009900"/>
                </a:solidFill>
              </a:rPr>
              <a:t>NET INCOME</a:t>
            </a:r>
          </a:p>
        </p:txBody>
      </p:sp>
      <p:sp>
        <p:nvSpPr>
          <p:cNvPr id="220" name="TextBox 219">
            <a:extLst>
              <a:ext uri="{FF2B5EF4-FFF2-40B4-BE49-F238E27FC236}">
                <a16:creationId xmlns:a16="http://schemas.microsoft.com/office/drawing/2014/main" id="{F56D6627-4B48-4A6F-872C-F0E8A17E26C8}"/>
              </a:ext>
            </a:extLst>
          </p:cNvPr>
          <p:cNvSpPr txBox="1"/>
          <p:nvPr/>
        </p:nvSpPr>
        <p:spPr>
          <a:xfrm>
            <a:off x="3944687" y="5687750"/>
            <a:ext cx="93268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2.3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%</a:t>
            </a:r>
            <a:endParaRPr lang="en-US" dirty="0">
              <a:solidFill>
                <a:schemeClr val="bg1">
                  <a:lumMod val="50000"/>
                </a:schemeClr>
              </a:solidFill>
              <a:latin typeface="Bahnschrift" panose="020B0502040204020203" pitchFamily="34" charset="0"/>
              <a:cs typeface="Calibri" panose="020F0502020204030204" pitchFamily="34" charset="0"/>
            </a:endParaRPr>
          </a:p>
        </p:txBody>
      </p:sp>
      <p:sp>
        <p:nvSpPr>
          <p:cNvPr id="222" name="TextBox 221">
            <a:extLst>
              <a:ext uri="{FF2B5EF4-FFF2-40B4-BE49-F238E27FC236}">
                <a16:creationId xmlns:a16="http://schemas.microsoft.com/office/drawing/2014/main" id="{8AD88DAF-2E70-4353-BB72-F772804B205B}"/>
              </a:ext>
            </a:extLst>
          </p:cNvPr>
          <p:cNvSpPr txBox="1"/>
          <p:nvPr/>
        </p:nvSpPr>
        <p:spPr>
          <a:xfrm>
            <a:off x="4973892" y="5541946"/>
            <a:ext cx="95241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b="1" dirty="0">
                <a:solidFill>
                  <a:srgbClr val="009900"/>
                </a:solidFill>
              </a:rPr>
              <a:t>NET INCOME</a:t>
            </a:r>
          </a:p>
        </p:txBody>
      </p:sp>
      <p:sp>
        <p:nvSpPr>
          <p:cNvPr id="224" name="TextBox 223">
            <a:extLst>
              <a:ext uri="{FF2B5EF4-FFF2-40B4-BE49-F238E27FC236}">
                <a16:creationId xmlns:a16="http://schemas.microsoft.com/office/drawing/2014/main" id="{24005B40-941D-454E-B181-264B9516F890}"/>
              </a:ext>
            </a:extLst>
          </p:cNvPr>
          <p:cNvSpPr txBox="1"/>
          <p:nvPr/>
        </p:nvSpPr>
        <p:spPr>
          <a:xfrm>
            <a:off x="4984459" y="5679625"/>
            <a:ext cx="93268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2.5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%</a:t>
            </a:r>
            <a:endParaRPr lang="en-US" dirty="0">
              <a:solidFill>
                <a:schemeClr val="bg1">
                  <a:lumMod val="50000"/>
                </a:schemeClr>
              </a:solidFill>
              <a:latin typeface="Bahnschrift" panose="020B0502040204020203" pitchFamily="34" charset="0"/>
              <a:cs typeface="Calibri" panose="020F0502020204030204" pitchFamily="34" charset="0"/>
            </a:endParaRPr>
          </a:p>
        </p:txBody>
      </p:sp>
      <p:sp>
        <p:nvSpPr>
          <p:cNvPr id="226" name="TextBox 225">
            <a:extLst>
              <a:ext uri="{FF2B5EF4-FFF2-40B4-BE49-F238E27FC236}">
                <a16:creationId xmlns:a16="http://schemas.microsoft.com/office/drawing/2014/main" id="{AEFCA24A-7185-40C4-98A4-86313F8BE325}"/>
              </a:ext>
            </a:extLst>
          </p:cNvPr>
          <p:cNvSpPr txBox="1"/>
          <p:nvPr/>
        </p:nvSpPr>
        <p:spPr>
          <a:xfrm>
            <a:off x="839598" y="4738414"/>
            <a:ext cx="95241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OP 200</a:t>
            </a:r>
          </a:p>
        </p:txBody>
      </p:sp>
      <p:sp>
        <p:nvSpPr>
          <p:cNvPr id="228" name="TextBox 227">
            <a:extLst>
              <a:ext uri="{FF2B5EF4-FFF2-40B4-BE49-F238E27FC236}">
                <a16:creationId xmlns:a16="http://schemas.microsoft.com/office/drawing/2014/main" id="{1EC55CC8-110C-4BD8-9645-B40AE62BE3B2}"/>
              </a:ext>
            </a:extLst>
          </p:cNvPr>
          <p:cNvSpPr txBox="1"/>
          <p:nvPr/>
        </p:nvSpPr>
        <p:spPr>
          <a:xfrm>
            <a:off x="1856910" y="4735069"/>
            <a:ext cx="95241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LOW</a:t>
            </a:r>
          </a:p>
        </p:txBody>
      </p:sp>
      <p:sp>
        <p:nvSpPr>
          <p:cNvPr id="230" name="TextBox 229">
            <a:extLst>
              <a:ext uri="{FF2B5EF4-FFF2-40B4-BE49-F238E27FC236}">
                <a16:creationId xmlns:a16="http://schemas.microsoft.com/office/drawing/2014/main" id="{3A49FD50-4B34-46D1-96DC-84E9E0153DE8}"/>
              </a:ext>
            </a:extLst>
          </p:cNvPr>
          <p:cNvSpPr txBox="1"/>
          <p:nvPr/>
        </p:nvSpPr>
        <p:spPr>
          <a:xfrm>
            <a:off x="2881263" y="4735714"/>
            <a:ext cx="95241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EW</a:t>
            </a:r>
          </a:p>
        </p:txBody>
      </p:sp>
      <p:sp>
        <p:nvSpPr>
          <p:cNvPr id="232" name="TextBox 231">
            <a:extLst>
              <a:ext uri="{FF2B5EF4-FFF2-40B4-BE49-F238E27FC236}">
                <a16:creationId xmlns:a16="http://schemas.microsoft.com/office/drawing/2014/main" id="{85A44EF7-9010-49C2-9BD9-3C3E801D5C8A}"/>
              </a:ext>
            </a:extLst>
          </p:cNvPr>
          <p:cNvSpPr txBox="1"/>
          <p:nvPr/>
        </p:nvSpPr>
        <p:spPr>
          <a:xfrm>
            <a:off x="3898575" y="4732369"/>
            <a:ext cx="95241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MPORT</a:t>
            </a:r>
          </a:p>
        </p:txBody>
      </p:sp>
      <p:sp>
        <p:nvSpPr>
          <p:cNvPr id="234" name="TextBox 233">
            <a:extLst>
              <a:ext uri="{FF2B5EF4-FFF2-40B4-BE49-F238E27FC236}">
                <a16:creationId xmlns:a16="http://schemas.microsoft.com/office/drawing/2014/main" id="{8D5F957F-E8B9-4B86-B242-6F34D06796A4}"/>
              </a:ext>
            </a:extLst>
          </p:cNvPr>
          <p:cNvSpPr txBox="1"/>
          <p:nvPr/>
        </p:nvSpPr>
        <p:spPr>
          <a:xfrm>
            <a:off x="830963" y="5387451"/>
            <a:ext cx="95241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>
                    <a:lumMod val="50000"/>
                  </a:schemeClr>
                </a:solidFill>
              </a:rPr>
              <a:t>SEASONAL</a:t>
            </a:r>
          </a:p>
        </p:txBody>
      </p:sp>
      <p:sp>
        <p:nvSpPr>
          <p:cNvPr id="236" name="TextBox 235">
            <a:extLst>
              <a:ext uri="{FF2B5EF4-FFF2-40B4-BE49-F238E27FC236}">
                <a16:creationId xmlns:a16="http://schemas.microsoft.com/office/drawing/2014/main" id="{38C5791C-57BF-49CE-B1FF-1D8C6A7CE132}"/>
              </a:ext>
            </a:extLst>
          </p:cNvPr>
          <p:cNvSpPr txBox="1"/>
          <p:nvPr/>
        </p:nvSpPr>
        <p:spPr>
          <a:xfrm>
            <a:off x="1848275" y="5384106"/>
            <a:ext cx="95241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>
                    <a:lumMod val="50000"/>
                  </a:schemeClr>
                </a:solidFill>
              </a:rPr>
              <a:t>NON-SEASONAL</a:t>
            </a:r>
          </a:p>
        </p:txBody>
      </p:sp>
      <p:sp>
        <p:nvSpPr>
          <p:cNvPr id="238" name="TextBox 237">
            <a:extLst>
              <a:ext uri="{FF2B5EF4-FFF2-40B4-BE49-F238E27FC236}">
                <a16:creationId xmlns:a16="http://schemas.microsoft.com/office/drawing/2014/main" id="{4C6CDF65-A373-450C-AC8D-67671588D504}"/>
              </a:ext>
            </a:extLst>
          </p:cNvPr>
          <p:cNvSpPr txBox="1"/>
          <p:nvPr/>
        </p:nvSpPr>
        <p:spPr>
          <a:xfrm>
            <a:off x="2872628" y="5384751"/>
            <a:ext cx="95241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>
                    <a:lumMod val="50000"/>
                  </a:schemeClr>
                </a:solidFill>
              </a:rPr>
              <a:t>HIGH BM DAYS</a:t>
            </a:r>
          </a:p>
        </p:txBody>
      </p:sp>
      <p:sp>
        <p:nvSpPr>
          <p:cNvPr id="240" name="TextBox 239">
            <a:extLst>
              <a:ext uri="{FF2B5EF4-FFF2-40B4-BE49-F238E27FC236}">
                <a16:creationId xmlns:a16="http://schemas.microsoft.com/office/drawing/2014/main" id="{0C9A8B92-11EE-4785-83A4-0E8CC0A9855A}"/>
              </a:ext>
            </a:extLst>
          </p:cNvPr>
          <p:cNvSpPr txBox="1"/>
          <p:nvPr/>
        </p:nvSpPr>
        <p:spPr>
          <a:xfrm>
            <a:off x="3889940" y="5381406"/>
            <a:ext cx="95241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>
                    <a:lumMod val="50000"/>
                  </a:schemeClr>
                </a:solidFill>
              </a:rPr>
              <a:t>HIGH DEM DEV</a:t>
            </a:r>
          </a:p>
        </p:txBody>
      </p:sp>
      <p:sp>
        <p:nvSpPr>
          <p:cNvPr id="242" name="TextBox 241">
            <a:extLst>
              <a:ext uri="{FF2B5EF4-FFF2-40B4-BE49-F238E27FC236}">
                <a16:creationId xmlns:a16="http://schemas.microsoft.com/office/drawing/2014/main" id="{92492EA5-0C78-4791-B23F-01CF5FF592BB}"/>
              </a:ext>
            </a:extLst>
          </p:cNvPr>
          <p:cNvSpPr txBox="1"/>
          <p:nvPr/>
        </p:nvSpPr>
        <p:spPr>
          <a:xfrm>
            <a:off x="4918599" y="4738188"/>
            <a:ext cx="95241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IVATE LABEL</a:t>
            </a:r>
          </a:p>
        </p:txBody>
      </p:sp>
      <p:sp>
        <p:nvSpPr>
          <p:cNvPr id="244" name="TextBox 243">
            <a:extLst>
              <a:ext uri="{FF2B5EF4-FFF2-40B4-BE49-F238E27FC236}">
                <a16:creationId xmlns:a16="http://schemas.microsoft.com/office/drawing/2014/main" id="{FAD91E86-3638-45C5-BF82-E209EFA5C514}"/>
              </a:ext>
            </a:extLst>
          </p:cNvPr>
          <p:cNvSpPr txBox="1"/>
          <p:nvPr/>
        </p:nvSpPr>
        <p:spPr>
          <a:xfrm>
            <a:off x="4909964" y="5387225"/>
            <a:ext cx="95241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>
                    <a:lumMod val="50000"/>
                  </a:schemeClr>
                </a:solidFill>
              </a:rPr>
              <a:t>PROMO</a:t>
            </a:r>
          </a:p>
        </p:txBody>
      </p:sp>
      <p:pic>
        <p:nvPicPr>
          <p:cNvPr id="246" name="Picture 245">
            <a:extLst>
              <a:ext uri="{FF2B5EF4-FFF2-40B4-BE49-F238E27FC236}">
                <a16:creationId xmlns:a16="http://schemas.microsoft.com/office/drawing/2014/main" id="{8D948B4C-21FF-43FF-AF56-9D555A299F7A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9515" y="1412503"/>
            <a:ext cx="6033298" cy="2851675"/>
          </a:xfrm>
          <a:prstGeom prst="rect">
            <a:avLst/>
          </a:prstGeom>
        </p:spPr>
      </p:pic>
      <p:sp>
        <p:nvSpPr>
          <p:cNvPr id="248" name="TextBox 247">
            <a:extLst>
              <a:ext uri="{FF2B5EF4-FFF2-40B4-BE49-F238E27FC236}">
                <a16:creationId xmlns:a16="http://schemas.microsoft.com/office/drawing/2014/main" id="{E4AA6F95-124C-4082-9711-A8A57A2EF165}"/>
              </a:ext>
            </a:extLst>
          </p:cNvPr>
          <p:cNvSpPr txBox="1"/>
          <p:nvPr/>
        </p:nvSpPr>
        <p:spPr>
          <a:xfrm>
            <a:off x="180898" y="1313272"/>
            <a:ext cx="1528261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+mj-lt"/>
                <a:cs typeface="Segoe UI Semibold" panose="020B0702040204020203" pitchFamily="34" charset="0"/>
              </a:rPr>
              <a:t>ANALYTICS</a:t>
            </a:r>
          </a:p>
        </p:txBody>
      </p:sp>
    </p:spTree>
    <p:extLst>
      <p:ext uri="{BB962C8B-B14F-4D97-AF65-F5344CB8AC3E}">
        <p14:creationId xmlns:p14="http://schemas.microsoft.com/office/powerpoint/2010/main" val="69212823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312A073-2E64-4525-A8A1-0172760C1973}"/>
              </a:ext>
            </a:extLst>
          </p:cNvPr>
          <p:cNvSpPr/>
          <p:nvPr/>
        </p:nvSpPr>
        <p:spPr>
          <a:xfrm>
            <a:off x="0" y="1905712"/>
            <a:ext cx="12103694" cy="380287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2072424-5D56-4214-9B0E-115C1E9D580C}"/>
              </a:ext>
            </a:extLst>
          </p:cNvPr>
          <p:cNvSpPr/>
          <p:nvPr/>
        </p:nvSpPr>
        <p:spPr>
          <a:xfrm>
            <a:off x="1166948" y="6448197"/>
            <a:ext cx="10013044" cy="181203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A4CCC08-A329-477A-B80B-2665F19C7039}"/>
              </a:ext>
            </a:extLst>
          </p:cNvPr>
          <p:cNvSpPr/>
          <p:nvPr/>
        </p:nvSpPr>
        <p:spPr>
          <a:xfrm>
            <a:off x="11267076" y="6448197"/>
            <a:ext cx="924923" cy="18120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67" name="Chart 66">
            <a:extLst>
              <a:ext uri="{FF2B5EF4-FFF2-40B4-BE49-F238E27FC236}">
                <a16:creationId xmlns:a16="http://schemas.microsoft.com/office/drawing/2014/main" id="{E4D9C660-107C-4AC7-916B-10D838F43C2C}"/>
              </a:ext>
            </a:extLst>
          </p:cNvPr>
          <p:cNvGraphicFramePr/>
          <p:nvPr/>
        </p:nvGraphicFramePr>
        <p:xfrm>
          <a:off x="88306" y="2040966"/>
          <a:ext cx="11764711" cy="35854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Oval 6">
            <a:extLst>
              <a:ext uri="{FF2B5EF4-FFF2-40B4-BE49-F238E27FC236}">
                <a16:creationId xmlns:a16="http://schemas.microsoft.com/office/drawing/2014/main" id="{F79B8CEC-F69E-4D64-98CF-8450FC7EBD5C}"/>
              </a:ext>
            </a:extLst>
          </p:cNvPr>
          <p:cNvSpPr/>
          <p:nvPr/>
        </p:nvSpPr>
        <p:spPr>
          <a:xfrm flipH="1">
            <a:off x="8289759" y="328411"/>
            <a:ext cx="287430" cy="287430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66A8FF45-3B64-42A3-BA6E-75DEDCB0DE0C}"/>
              </a:ext>
            </a:extLst>
          </p:cNvPr>
          <p:cNvSpPr txBox="1"/>
          <p:nvPr/>
        </p:nvSpPr>
        <p:spPr>
          <a:xfrm>
            <a:off x="8758931" y="348696"/>
            <a:ext cx="25146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b="1" dirty="0">
                <a:solidFill>
                  <a:schemeClr val="accent1"/>
                </a:solidFill>
              </a:rPr>
              <a:t>ONE DAY OF $ INVENTORY</a:t>
            </a:r>
          </a:p>
        </p:txBody>
      </p:sp>
      <p:sp>
        <p:nvSpPr>
          <p:cNvPr id="73" name="Oval 72">
            <a:extLst>
              <a:ext uri="{FF2B5EF4-FFF2-40B4-BE49-F238E27FC236}">
                <a16:creationId xmlns:a16="http://schemas.microsoft.com/office/drawing/2014/main" id="{41EB1968-BB5A-42F9-9703-6D5DEF87D625}"/>
              </a:ext>
            </a:extLst>
          </p:cNvPr>
          <p:cNvSpPr/>
          <p:nvPr/>
        </p:nvSpPr>
        <p:spPr>
          <a:xfrm flipH="1">
            <a:off x="8301870" y="804918"/>
            <a:ext cx="287430" cy="287430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0F0E4B47-C0F6-4C18-8BB2-6ADF9C9B7502}"/>
              </a:ext>
            </a:extLst>
          </p:cNvPr>
          <p:cNvSpPr txBox="1"/>
          <p:nvPr/>
        </p:nvSpPr>
        <p:spPr>
          <a:xfrm>
            <a:off x="8758931" y="825522"/>
            <a:ext cx="3142574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b="1" dirty="0"/>
              <a:t>CARRY COST RAT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16D71225-67D9-4D2D-8C1D-31216784E68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899" y="5866267"/>
            <a:ext cx="830596" cy="855208"/>
          </a:xfrm>
          <a:prstGeom prst="rect">
            <a:avLst/>
          </a:prstGeom>
        </p:spPr>
      </p:pic>
      <p:sp>
        <p:nvSpPr>
          <p:cNvPr id="14" name="Oval 13">
            <a:extLst>
              <a:ext uri="{FF2B5EF4-FFF2-40B4-BE49-F238E27FC236}">
                <a16:creationId xmlns:a16="http://schemas.microsoft.com/office/drawing/2014/main" id="{6585A6A0-70F8-4153-9263-47D527D42105}"/>
              </a:ext>
            </a:extLst>
          </p:cNvPr>
          <p:cNvSpPr/>
          <p:nvPr/>
        </p:nvSpPr>
        <p:spPr>
          <a:xfrm flipH="1">
            <a:off x="8301870" y="1267485"/>
            <a:ext cx="287430" cy="287430"/>
          </a:xfrm>
          <a:prstGeom prst="ellipse">
            <a:avLst/>
          </a:prstGeom>
          <a:solidFill>
            <a:schemeClr val="accent4">
              <a:lumMod val="7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1A599B6-8ABE-427A-8EF7-FDDFF372C5F2}"/>
              </a:ext>
            </a:extLst>
          </p:cNvPr>
          <p:cNvSpPr txBox="1"/>
          <p:nvPr/>
        </p:nvSpPr>
        <p:spPr>
          <a:xfrm>
            <a:off x="8758931" y="1288089"/>
            <a:ext cx="25146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b="1" dirty="0">
                <a:solidFill>
                  <a:schemeClr val="accent2">
                    <a:lumMod val="50000"/>
                  </a:schemeClr>
                </a:solidFill>
              </a:rPr>
              <a:t>ACQUISITION COST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C7C8830-D242-4F73-BEBA-11E56D3D4CE2}"/>
              </a:ext>
            </a:extLst>
          </p:cNvPr>
          <p:cNvSpPr txBox="1"/>
          <p:nvPr/>
        </p:nvSpPr>
        <p:spPr>
          <a:xfrm rot="16200000">
            <a:off x="-675725" y="2826855"/>
            <a:ext cx="251460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>
                <a:solidFill>
                  <a:schemeClr val="accent1"/>
                </a:solidFill>
              </a:rPr>
              <a:t>ONE DAY OF $INVEN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FBA04E1-E5D2-4298-AEC8-F98C4560E85E}"/>
              </a:ext>
            </a:extLst>
          </p:cNvPr>
          <p:cNvSpPr txBox="1"/>
          <p:nvPr/>
        </p:nvSpPr>
        <p:spPr>
          <a:xfrm rot="16200000">
            <a:off x="-271214" y="1289569"/>
            <a:ext cx="219705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/>
              <a:t>CARRY RATE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2EB5FD9-CD6E-4C9E-8D00-D0ED67F978CC}"/>
              </a:ext>
            </a:extLst>
          </p:cNvPr>
          <p:cNvSpPr txBox="1"/>
          <p:nvPr/>
        </p:nvSpPr>
        <p:spPr>
          <a:xfrm rot="16200000">
            <a:off x="-182457" y="3677863"/>
            <a:ext cx="251460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>
                <a:solidFill>
                  <a:schemeClr val="accent2">
                    <a:lumMod val="75000"/>
                  </a:schemeClr>
                </a:solidFill>
              </a:rPr>
              <a:t>ACUQISITOIN RAT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EBC268D-D6CC-4B65-BAC4-C21C6FC07F85}"/>
              </a:ext>
            </a:extLst>
          </p:cNvPr>
          <p:cNvSpPr/>
          <p:nvPr/>
        </p:nvSpPr>
        <p:spPr>
          <a:xfrm>
            <a:off x="2709017" y="5426579"/>
            <a:ext cx="940037" cy="199877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4DDC42-C6B8-43AB-88A9-CF2B7713BC4A}"/>
              </a:ext>
            </a:extLst>
          </p:cNvPr>
          <p:cNvSpPr/>
          <p:nvPr/>
        </p:nvSpPr>
        <p:spPr>
          <a:xfrm>
            <a:off x="338984" y="0"/>
            <a:ext cx="1207805" cy="1577589"/>
          </a:xfrm>
          <a:prstGeom prst="rect">
            <a:avLst/>
          </a:prstGeom>
          <a:solidFill>
            <a:schemeClr val="accent5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1D6DAC9-7F5C-4F6D-8230-6B5D88A809BA}"/>
              </a:ext>
            </a:extLst>
          </p:cNvPr>
          <p:cNvSpPr txBox="1"/>
          <p:nvPr/>
        </p:nvSpPr>
        <p:spPr>
          <a:xfrm>
            <a:off x="18815" y="86259"/>
            <a:ext cx="1848142" cy="123110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8000" dirty="0">
                <a:solidFill>
                  <a:schemeClr val="bg1"/>
                </a:solidFill>
                <a:latin typeface="Bahnschrift" panose="020B0502040204020203" pitchFamily="34" charset="0"/>
                <a:cs typeface="Segoe UI Semibold" panose="020B0702040204020203" pitchFamily="34" charset="0"/>
              </a:rPr>
              <a:t>B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96971FE-AEFB-4522-9792-130E6FCCEBC2}"/>
              </a:ext>
            </a:extLst>
          </p:cNvPr>
          <p:cNvSpPr txBox="1"/>
          <p:nvPr/>
        </p:nvSpPr>
        <p:spPr>
          <a:xfrm>
            <a:off x="180898" y="1313272"/>
            <a:ext cx="1528261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  <a:latin typeface="+mj-lt"/>
                <a:cs typeface="Segoe UI Semibold" panose="020B0702040204020203" pitchFamily="34" charset="0"/>
              </a:rPr>
              <a:t>BENCHMARK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34F7EBB-7FE8-4020-A358-50EABDAE680D}"/>
              </a:ext>
            </a:extLst>
          </p:cNvPr>
          <p:cNvSpPr txBox="1"/>
          <p:nvPr/>
        </p:nvSpPr>
        <p:spPr>
          <a:xfrm>
            <a:off x="2059536" y="283206"/>
            <a:ext cx="7160584" cy="61555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en-US" sz="4000" dirty="0">
                <a:solidFill>
                  <a:schemeClr val="tx1">
                    <a:lumMod val="65000"/>
                    <a:lumOff val="35000"/>
                  </a:schemeClr>
                </a:solidFill>
                <a:latin typeface="Bahnschrift" panose="020B0502040204020203" pitchFamily="34" charset="0"/>
                <a:cs typeface="Segoe UI Semibold" panose="020B0702040204020203" pitchFamily="34" charset="0"/>
              </a:rPr>
              <a:t>CORE FINANCIALS</a:t>
            </a:r>
          </a:p>
        </p:txBody>
      </p:sp>
    </p:spTree>
    <p:extLst>
      <p:ext uri="{BB962C8B-B14F-4D97-AF65-F5344CB8AC3E}">
        <p14:creationId xmlns:p14="http://schemas.microsoft.com/office/powerpoint/2010/main" val="17733180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E5B24B26-F498-479A-9712-3BC24141A4F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95" y="1135743"/>
            <a:ext cx="10656605" cy="4586514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22EF1B47-623D-43FE-9106-B32A4365F3B3}"/>
              </a:ext>
            </a:extLst>
          </p:cNvPr>
          <p:cNvSpPr/>
          <p:nvPr/>
        </p:nvSpPr>
        <p:spPr>
          <a:xfrm>
            <a:off x="10656605" y="0"/>
            <a:ext cx="1524000" cy="68580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31094DE-A950-4ACD-BE4E-C1A5A4F2B98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0254" y="5872814"/>
            <a:ext cx="3137834" cy="834628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CD9BA58D-DC3C-404D-B4B4-4E45262F15BE}"/>
              </a:ext>
            </a:extLst>
          </p:cNvPr>
          <p:cNvSpPr/>
          <p:nvPr/>
        </p:nvSpPr>
        <p:spPr>
          <a:xfrm>
            <a:off x="1028045" y="0"/>
            <a:ext cx="4372897" cy="5722257"/>
          </a:xfrm>
          <a:prstGeom prst="rect">
            <a:avLst/>
          </a:prstGeom>
          <a:solidFill>
            <a:schemeClr val="accent5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812524D-493D-41C3-8B71-71EFBA3D0704}"/>
              </a:ext>
            </a:extLst>
          </p:cNvPr>
          <p:cNvSpPr txBox="1"/>
          <p:nvPr/>
        </p:nvSpPr>
        <p:spPr>
          <a:xfrm>
            <a:off x="1080893" y="1591233"/>
            <a:ext cx="4267200" cy="270843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4400" dirty="0">
                <a:solidFill>
                  <a:schemeClr val="bg1"/>
                </a:solidFill>
                <a:latin typeface="Bahnschrift" panose="020B0502040204020203" pitchFamily="34" charset="0"/>
                <a:cs typeface="Segoe UI Semibold" panose="020B0702040204020203" pitchFamily="34" charset="0"/>
              </a:rPr>
              <a:t>INVENTORY</a:t>
            </a:r>
          </a:p>
          <a:p>
            <a:pPr algn="ctr"/>
            <a:r>
              <a:rPr lang="en-US" sz="4400" dirty="0">
                <a:solidFill>
                  <a:schemeClr val="bg1"/>
                </a:solidFill>
                <a:latin typeface="Bahnschrift" panose="020B0502040204020203" pitchFamily="34" charset="0"/>
                <a:cs typeface="Segoe UI Semibold" panose="020B0702040204020203" pitchFamily="34" charset="0"/>
              </a:rPr>
              <a:t>BENCHMARKING</a:t>
            </a:r>
          </a:p>
          <a:p>
            <a:pPr algn="ctr"/>
            <a:r>
              <a:rPr lang="en-US" sz="4400" dirty="0">
                <a:solidFill>
                  <a:schemeClr val="bg1"/>
                </a:solidFill>
                <a:latin typeface="Bahnschrift" panose="020B0502040204020203" pitchFamily="34" charset="0"/>
                <a:cs typeface="Segoe UI Semibold" panose="020B0702040204020203" pitchFamily="34" charset="0"/>
              </a:rPr>
              <a:t>SERVICE</a:t>
            </a:r>
          </a:p>
          <a:p>
            <a:pPr algn="ctr"/>
            <a:endParaRPr lang="en-US" sz="4400" dirty="0">
              <a:solidFill>
                <a:schemeClr val="bg1"/>
              </a:solidFill>
              <a:latin typeface="Bahnschrift" panose="020B05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5" name="Freeform 3886">
            <a:extLst>
              <a:ext uri="{FF2B5EF4-FFF2-40B4-BE49-F238E27FC236}">
                <a16:creationId xmlns:a16="http://schemas.microsoft.com/office/drawing/2014/main" id="{B8681D51-BAB9-40A6-8ECF-E304076A1467}"/>
              </a:ext>
            </a:extLst>
          </p:cNvPr>
          <p:cNvSpPr>
            <a:spLocks noEditPoints="1"/>
          </p:cNvSpPr>
          <p:nvPr/>
        </p:nvSpPr>
        <p:spPr bwMode="auto">
          <a:xfrm>
            <a:off x="11151258" y="1036831"/>
            <a:ext cx="557484" cy="554402"/>
          </a:xfrm>
          <a:custGeom>
            <a:avLst/>
            <a:gdLst>
              <a:gd name="T0" fmla="*/ 268 w 902"/>
              <a:gd name="T1" fmla="*/ 575 h 901"/>
              <a:gd name="T2" fmla="*/ 207 w 902"/>
              <a:gd name="T3" fmla="*/ 555 h 901"/>
              <a:gd name="T4" fmla="*/ 155 w 902"/>
              <a:gd name="T5" fmla="*/ 520 h 901"/>
              <a:gd name="T6" fmla="*/ 112 w 902"/>
              <a:gd name="T7" fmla="*/ 475 h 901"/>
              <a:gd name="T8" fmla="*/ 81 w 902"/>
              <a:gd name="T9" fmla="*/ 422 h 901"/>
              <a:gd name="T10" fmla="*/ 64 w 902"/>
              <a:gd name="T11" fmla="*/ 360 h 901"/>
              <a:gd name="T12" fmla="*/ 61 w 902"/>
              <a:gd name="T13" fmla="*/ 294 h 901"/>
              <a:gd name="T14" fmla="*/ 76 w 902"/>
              <a:gd name="T15" fmla="*/ 231 h 901"/>
              <a:gd name="T16" fmla="*/ 104 w 902"/>
              <a:gd name="T17" fmla="*/ 175 h 901"/>
              <a:gd name="T18" fmla="*/ 145 w 902"/>
              <a:gd name="T19" fmla="*/ 128 h 901"/>
              <a:gd name="T20" fmla="*/ 197 w 902"/>
              <a:gd name="T21" fmla="*/ 92 h 901"/>
              <a:gd name="T22" fmla="*/ 256 w 902"/>
              <a:gd name="T23" fmla="*/ 69 h 901"/>
              <a:gd name="T24" fmla="*/ 320 w 902"/>
              <a:gd name="T25" fmla="*/ 60 h 901"/>
              <a:gd name="T26" fmla="*/ 385 w 902"/>
              <a:gd name="T27" fmla="*/ 69 h 901"/>
              <a:gd name="T28" fmla="*/ 444 w 902"/>
              <a:gd name="T29" fmla="*/ 92 h 901"/>
              <a:gd name="T30" fmla="*/ 495 w 902"/>
              <a:gd name="T31" fmla="*/ 128 h 901"/>
              <a:gd name="T32" fmla="*/ 537 w 902"/>
              <a:gd name="T33" fmla="*/ 175 h 901"/>
              <a:gd name="T34" fmla="*/ 564 w 902"/>
              <a:gd name="T35" fmla="*/ 231 h 901"/>
              <a:gd name="T36" fmla="*/ 579 w 902"/>
              <a:gd name="T37" fmla="*/ 294 h 901"/>
              <a:gd name="T38" fmla="*/ 577 w 902"/>
              <a:gd name="T39" fmla="*/ 360 h 901"/>
              <a:gd name="T40" fmla="*/ 560 w 902"/>
              <a:gd name="T41" fmla="*/ 422 h 901"/>
              <a:gd name="T42" fmla="*/ 529 w 902"/>
              <a:gd name="T43" fmla="*/ 475 h 901"/>
              <a:gd name="T44" fmla="*/ 486 w 902"/>
              <a:gd name="T45" fmla="*/ 520 h 901"/>
              <a:gd name="T46" fmla="*/ 432 w 902"/>
              <a:gd name="T47" fmla="*/ 555 h 901"/>
              <a:gd name="T48" fmla="*/ 372 w 902"/>
              <a:gd name="T49" fmla="*/ 575 h 901"/>
              <a:gd name="T50" fmla="*/ 320 w 902"/>
              <a:gd name="T51" fmla="*/ 580 h 901"/>
              <a:gd name="T52" fmla="*/ 591 w 902"/>
              <a:gd name="T53" fmla="*/ 491 h 901"/>
              <a:gd name="T54" fmla="*/ 621 w 902"/>
              <a:gd name="T55" fmla="*/ 430 h 901"/>
              <a:gd name="T56" fmla="*/ 637 w 902"/>
              <a:gd name="T57" fmla="*/ 363 h 901"/>
              <a:gd name="T58" fmla="*/ 638 w 902"/>
              <a:gd name="T59" fmla="*/ 288 h 901"/>
              <a:gd name="T60" fmla="*/ 621 w 902"/>
              <a:gd name="T61" fmla="*/ 211 h 901"/>
              <a:gd name="T62" fmla="*/ 586 w 902"/>
              <a:gd name="T63" fmla="*/ 142 h 901"/>
              <a:gd name="T64" fmla="*/ 535 w 902"/>
              <a:gd name="T65" fmla="*/ 83 h 901"/>
              <a:gd name="T66" fmla="*/ 473 w 902"/>
              <a:gd name="T67" fmla="*/ 39 h 901"/>
              <a:gd name="T68" fmla="*/ 400 w 902"/>
              <a:gd name="T69" fmla="*/ 10 h 901"/>
              <a:gd name="T70" fmla="*/ 320 w 902"/>
              <a:gd name="T71" fmla="*/ 0 h 901"/>
              <a:gd name="T72" fmla="*/ 241 w 902"/>
              <a:gd name="T73" fmla="*/ 10 h 901"/>
              <a:gd name="T74" fmla="*/ 168 w 902"/>
              <a:gd name="T75" fmla="*/ 39 h 901"/>
              <a:gd name="T76" fmla="*/ 105 w 902"/>
              <a:gd name="T77" fmla="*/ 83 h 901"/>
              <a:gd name="T78" fmla="*/ 55 w 902"/>
              <a:gd name="T79" fmla="*/ 142 h 901"/>
              <a:gd name="T80" fmla="*/ 20 w 902"/>
              <a:gd name="T81" fmla="*/ 211 h 901"/>
              <a:gd name="T82" fmla="*/ 1 w 902"/>
              <a:gd name="T83" fmla="*/ 288 h 901"/>
              <a:gd name="T84" fmla="*/ 3 w 902"/>
              <a:gd name="T85" fmla="*/ 369 h 901"/>
              <a:gd name="T86" fmla="*/ 25 w 902"/>
              <a:gd name="T87" fmla="*/ 445 h 901"/>
              <a:gd name="T88" fmla="*/ 64 w 902"/>
              <a:gd name="T89" fmla="*/ 512 h 901"/>
              <a:gd name="T90" fmla="*/ 117 w 902"/>
              <a:gd name="T91" fmla="*/ 568 h 901"/>
              <a:gd name="T92" fmla="*/ 182 w 902"/>
              <a:gd name="T93" fmla="*/ 608 h 901"/>
              <a:gd name="T94" fmla="*/ 256 w 902"/>
              <a:gd name="T95" fmla="*/ 634 h 901"/>
              <a:gd name="T96" fmla="*/ 335 w 902"/>
              <a:gd name="T97" fmla="*/ 641 h 901"/>
              <a:gd name="T98" fmla="*/ 405 w 902"/>
              <a:gd name="T99" fmla="*/ 630 h 901"/>
              <a:gd name="T100" fmla="*/ 468 w 902"/>
              <a:gd name="T101" fmla="*/ 604 h 901"/>
              <a:gd name="T102" fmla="*/ 525 w 902"/>
              <a:gd name="T103" fmla="*/ 567 h 901"/>
              <a:gd name="T104" fmla="*/ 871 w 902"/>
              <a:gd name="T105" fmla="*/ 901 h 901"/>
              <a:gd name="T106" fmla="*/ 897 w 902"/>
              <a:gd name="T107" fmla="*/ 888 h 901"/>
              <a:gd name="T108" fmla="*/ 899 w 902"/>
              <a:gd name="T109" fmla="*/ 860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902" h="901">
                <a:moveTo>
                  <a:pt x="320" y="580"/>
                </a:moveTo>
                <a:lnTo>
                  <a:pt x="307" y="580"/>
                </a:lnTo>
                <a:lnTo>
                  <a:pt x="294" y="579"/>
                </a:lnTo>
                <a:lnTo>
                  <a:pt x="281" y="577"/>
                </a:lnTo>
                <a:lnTo>
                  <a:pt x="268" y="575"/>
                </a:lnTo>
                <a:lnTo>
                  <a:pt x="256" y="572"/>
                </a:lnTo>
                <a:lnTo>
                  <a:pt x="243" y="569"/>
                </a:lnTo>
                <a:lnTo>
                  <a:pt x="231" y="564"/>
                </a:lnTo>
                <a:lnTo>
                  <a:pt x="219" y="560"/>
                </a:lnTo>
                <a:lnTo>
                  <a:pt x="207" y="555"/>
                </a:lnTo>
                <a:lnTo>
                  <a:pt x="197" y="549"/>
                </a:lnTo>
                <a:lnTo>
                  <a:pt x="186" y="543"/>
                </a:lnTo>
                <a:lnTo>
                  <a:pt x="175" y="535"/>
                </a:lnTo>
                <a:lnTo>
                  <a:pt x="164" y="529"/>
                </a:lnTo>
                <a:lnTo>
                  <a:pt x="155" y="520"/>
                </a:lnTo>
                <a:lnTo>
                  <a:pt x="145" y="513"/>
                </a:lnTo>
                <a:lnTo>
                  <a:pt x="136" y="504"/>
                </a:lnTo>
                <a:lnTo>
                  <a:pt x="128" y="495"/>
                </a:lnTo>
                <a:lnTo>
                  <a:pt x="119" y="486"/>
                </a:lnTo>
                <a:lnTo>
                  <a:pt x="112" y="475"/>
                </a:lnTo>
                <a:lnTo>
                  <a:pt x="104" y="466"/>
                </a:lnTo>
                <a:lnTo>
                  <a:pt x="98" y="455"/>
                </a:lnTo>
                <a:lnTo>
                  <a:pt x="91" y="444"/>
                </a:lnTo>
                <a:lnTo>
                  <a:pt x="86" y="432"/>
                </a:lnTo>
                <a:lnTo>
                  <a:pt x="81" y="422"/>
                </a:lnTo>
                <a:lnTo>
                  <a:pt x="76" y="410"/>
                </a:lnTo>
                <a:lnTo>
                  <a:pt x="72" y="397"/>
                </a:lnTo>
                <a:lnTo>
                  <a:pt x="69" y="385"/>
                </a:lnTo>
                <a:lnTo>
                  <a:pt x="66" y="372"/>
                </a:lnTo>
                <a:lnTo>
                  <a:pt x="64" y="360"/>
                </a:lnTo>
                <a:lnTo>
                  <a:pt x="61" y="347"/>
                </a:lnTo>
                <a:lnTo>
                  <a:pt x="60" y="334"/>
                </a:lnTo>
                <a:lnTo>
                  <a:pt x="60" y="320"/>
                </a:lnTo>
                <a:lnTo>
                  <a:pt x="60" y="307"/>
                </a:lnTo>
                <a:lnTo>
                  <a:pt x="61" y="294"/>
                </a:lnTo>
                <a:lnTo>
                  <a:pt x="64" y="281"/>
                </a:lnTo>
                <a:lnTo>
                  <a:pt x="66" y="268"/>
                </a:lnTo>
                <a:lnTo>
                  <a:pt x="69" y="256"/>
                </a:lnTo>
                <a:lnTo>
                  <a:pt x="72" y="243"/>
                </a:lnTo>
                <a:lnTo>
                  <a:pt x="76" y="231"/>
                </a:lnTo>
                <a:lnTo>
                  <a:pt x="81" y="219"/>
                </a:lnTo>
                <a:lnTo>
                  <a:pt x="86" y="207"/>
                </a:lnTo>
                <a:lnTo>
                  <a:pt x="91" y="197"/>
                </a:lnTo>
                <a:lnTo>
                  <a:pt x="98" y="186"/>
                </a:lnTo>
                <a:lnTo>
                  <a:pt x="104" y="175"/>
                </a:lnTo>
                <a:lnTo>
                  <a:pt x="112" y="164"/>
                </a:lnTo>
                <a:lnTo>
                  <a:pt x="119" y="155"/>
                </a:lnTo>
                <a:lnTo>
                  <a:pt x="128" y="145"/>
                </a:lnTo>
                <a:lnTo>
                  <a:pt x="136" y="137"/>
                </a:lnTo>
                <a:lnTo>
                  <a:pt x="145" y="128"/>
                </a:lnTo>
                <a:lnTo>
                  <a:pt x="155" y="119"/>
                </a:lnTo>
                <a:lnTo>
                  <a:pt x="164" y="112"/>
                </a:lnTo>
                <a:lnTo>
                  <a:pt x="175" y="104"/>
                </a:lnTo>
                <a:lnTo>
                  <a:pt x="186" y="98"/>
                </a:lnTo>
                <a:lnTo>
                  <a:pt x="197" y="92"/>
                </a:lnTo>
                <a:lnTo>
                  <a:pt x="207" y="86"/>
                </a:lnTo>
                <a:lnTo>
                  <a:pt x="219" y="81"/>
                </a:lnTo>
                <a:lnTo>
                  <a:pt x="231" y="77"/>
                </a:lnTo>
                <a:lnTo>
                  <a:pt x="243" y="72"/>
                </a:lnTo>
                <a:lnTo>
                  <a:pt x="256" y="69"/>
                </a:lnTo>
                <a:lnTo>
                  <a:pt x="268" y="66"/>
                </a:lnTo>
                <a:lnTo>
                  <a:pt x="281" y="64"/>
                </a:lnTo>
                <a:lnTo>
                  <a:pt x="294" y="61"/>
                </a:lnTo>
                <a:lnTo>
                  <a:pt x="307" y="60"/>
                </a:lnTo>
                <a:lnTo>
                  <a:pt x="320" y="60"/>
                </a:lnTo>
                <a:lnTo>
                  <a:pt x="334" y="60"/>
                </a:lnTo>
                <a:lnTo>
                  <a:pt x="347" y="61"/>
                </a:lnTo>
                <a:lnTo>
                  <a:pt x="360" y="64"/>
                </a:lnTo>
                <a:lnTo>
                  <a:pt x="372" y="66"/>
                </a:lnTo>
                <a:lnTo>
                  <a:pt x="385" y="69"/>
                </a:lnTo>
                <a:lnTo>
                  <a:pt x="397" y="72"/>
                </a:lnTo>
                <a:lnTo>
                  <a:pt x="410" y="77"/>
                </a:lnTo>
                <a:lnTo>
                  <a:pt x="422" y="81"/>
                </a:lnTo>
                <a:lnTo>
                  <a:pt x="432" y="86"/>
                </a:lnTo>
                <a:lnTo>
                  <a:pt x="444" y="92"/>
                </a:lnTo>
                <a:lnTo>
                  <a:pt x="455" y="98"/>
                </a:lnTo>
                <a:lnTo>
                  <a:pt x="466" y="104"/>
                </a:lnTo>
                <a:lnTo>
                  <a:pt x="475" y="112"/>
                </a:lnTo>
                <a:lnTo>
                  <a:pt x="486" y="119"/>
                </a:lnTo>
                <a:lnTo>
                  <a:pt x="495" y="128"/>
                </a:lnTo>
                <a:lnTo>
                  <a:pt x="504" y="137"/>
                </a:lnTo>
                <a:lnTo>
                  <a:pt x="513" y="145"/>
                </a:lnTo>
                <a:lnTo>
                  <a:pt x="522" y="155"/>
                </a:lnTo>
                <a:lnTo>
                  <a:pt x="529" y="164"/>
                </a:lnTo>
                <a:lnTo>
                  <a:pt x="537" y="175"/>
                </a:lnTo>
                <a:lnTo>
                  <a:pt x="543" y="186"/>
                </a:lnTo>
                <a:lnTo>
                  <a:pt x="549" y="197"/>
                </a:lnTo>
                <a:lnTo>
                  <a:pt x="555" y="207"/>
                </a:lnTo>
                <a:lnTo>
                  <a:pt x="560" y="219"/>
                </a:lnTo>
                <a:lnTo>
                  <a:pt x="564" y="231"/>
                </a:lnTo>
                <a:lnTo>
                  <a:pt x="569" y="243"/>
                </a:lnTo>
                <a:lnTo>
                  <a:pt x="572" y="256"/>
                </a:lnTo>
                <a:lnTo>
                  <a:pt x="575" y="268"/>
                </a:lnTo>
                <a:lnTo>
                  <a:pt x="577" y="281"/>
                </a:lnTo>
                <a:lnTo>
                  <a:pt x="579" y="294"/>
                </a:lnTo>
                <a:lnTo>
                  <a:pt x="580" y="307"/>
                </a:lnTo>
                <a:lnTo>
                  <a:pt x="580" y="320"/>
                </a:lnTo>
                <a:lnTo>
                  <a:pt x="580" y="334"/>
                </a:lnTo>
                <a:lnTo>
                  <a:pt x="579" y="347"/>
                </a:lnTo>
                <a:lnTo>
                  <a:pt x="577" y="360"/>
                </a:lnTo>
                <a:lnTo>
                  <a:pt x="575" y="372"/>
                </a:lnTo>
                <a:lnTo>
                  <a:pt x="572" y="385"/>
                </a:lnTo>
                <a:lnTo>
                  <a:pt x="569" y="397"/>
                </a:lnTo>
                <a:lnTo>
                  <a:pt x="564" y="410"/>
                </a:lnTo>
                <a:lnTo>
                  <a:pt x="560" y="422"/>
                </a:lnTo>
                <a:lnTo>
                  <a:pt x="555" y="432"/>
                </a:lnTo>
                <a:lnTo>
                  <a:pt x="549" y="444"/>
                </a:lnTo>
                <a:lnTo>
                  <a:pt x="543" y="455"/>
                </a:lnTo>
                <a:lnTo>
                  <a:pt x="537" y="466"/>
                </a:lnTo>
                <a:lnTo>
                  <a:pt x="529" y="475"/>
                </a:lnTo>
                <a:lnTo>
                  <a:pt x="522" y="486"/>
                </a:lnTo>
                <a:lnTo>
                  <a:pt x="513" y="495"/>
                </a:lnTo>
                <a:lnTo>
                  <a:pt x="504" y="504"/>
                </a:lnTo>
                <a:lnTo>
                  <a:pt x="495" y="513"/>
                </a:lnTo>
                <a:lnTo>
                  <a:pt x="486" y="520"/>
                </a:lnTo>
                <a:lnTo>
                  <a:pt x="475" y="529"/>
                </a:lnTo>
                <a:lnTo>
                  <a:pt x="466" y="535"/>
                </a:lnTo>
                <a:lnTo>
                  <a:pt x="455" y="543"/>
                </a:lnTo>
                <a:lnTo>
                  <a:pt x="444" y="549"/>
                </a:lnTo>
                <a:lnTo>
                  <a:pt x="432" y="555"/>
                </a:lnTo>
                <a:lnTo>
                  <a:pt x="422" y="560"/>
                </a:lnTo>
                <a:lnTo>
                  <a:pt x="410" y="564"/>
                </a:lnTo>
                <a:lnTo>
                  <a:pt x="397" y="569"/>
                </a:lnTo>
                <a:lnTo>
                  <a:pt x="385" y="572"/>
                </a:lnTo>
                <a:lnTo>
                  <a:pt x="372" y="575"/>
                </a:lnTo>
                <a:lnTo>
                  <a:pt x="360" y="577"/>
                </a:lnTo>
                <a:lnTo>
                  <a:pt x="347" y="579"/>
                </a:lnTo>
                <a:lnTo>
                  <a:pt x="334" y="580"/>
                </a:lnTo>
                <a:lnTo>
                  <a:pt x="320" y="580"/>
                </a:lnTo>
                <a:lnTo>
                  <a:pt x="320" y="580"/>
                </a:lnTo>
                <a:close/>
                <a:moveTo>
                  <a:pt x="893" y="851"/>
                </a:moveTo>
                <a:lnTo>
                  <a:pt x="567" y="525"/>
                </a:lnTo>
                <a:lnTo>
                  <a:pt x="575" y="514"/>
                </a:lnTo>
                <a:lnTo>
                  <a:pt x="584" y="503"/>
                </a:lnTo>
                <a:lnTo>
                  <a:pt x="591" y="491"/>
                </a:lnTo>
                <a:lnTo>
                  <a:pt x="598" y="480"/>
                </a:lnTo>
                <a:lnTo>
                  <a:pt x="604" y="468"/>
                </a:lnTo>
                <a:lnTo>
                  <a:pt x="611" y="456"/>
                </a:lnTo>
                <a:lnTo>
                  <a:pt x="616" y="443"/>
                </a:lnTo>
                <a:lnTo>
                  <a:pt x="621" y="430"/>
                </a:lnTo>
                <a:lnTo>
                  <a:pt x="626" y="417"/>
                </a:lnTo>
                <a:lnTo>
                  <a:pt x="630" y="405"/>
                </a:lnTo>
                <a:lnTo>
                  <a:pt x="633" y="391"/>
                </a:lnTo>
                <a:lnTo>
                  <a:pt x="635" y="377"/>
                </a:lnTo>
                <a:lnTo>
                  <a:pt x="637" y="363"/>
                </a:lnTo>
                <a:lnTo>
                  <a:pt x="639" y="349"/>
                </a:lnTo>
                <a:lnTo>
                  <a:pt x="641" y="335"/>
                </a:lnTo>
                <a:lnTo>
                  <a:pt x="641" y="320"/>
                </a:lnTo>
                <a:lnTo>
                  <a:pt x="641" y="304"/>
                </a:lnTo>
                <a:lnTo>
                  <a:pt x="638" y="288"/>
                </a:lnTo>
                <a:lnTo>
                  <a:pt x="637" y="272"/>
                </a:lnTo>
                <a:lnTo>
                  <a:pt x="634" y="256"/>
                </a:lnTo>
                <a:lnTo>
                  <a:pt x="631" y="241"/>
                </a:lnTo>
                <a:lnTo>
                  <a:pt x="627" y="226"/>
                </a:lnTo>
                <a:lnTo>
                  <a:pt x="621" y="211"/>
                </a:lnTo>
                <a:lnTo>
                  <a:pt x="616" y="196"/>
                </a:lnTo>
                <a:lnTo>
                  <a:pt x="609" y="182"/>
                </a:lnTo>
                <a:lnTo>
                  <a:pt x="602" y="168"/>
                </a:lnTo>
                <a:lnTo>
                  <a:pt x="594" y="155"/>
                </a:lnTo>
                <a:lnTo>
                  <a:pt x="586" y="142"/>
                </a:lnTo>
                <a:lnTo>
                  <a:pt x="577" y="129"/>
                </a:lnTo>
                <a:lnTo>
                  <a:pt x="568" y="117"/>
                </a:lnTo>
                <a:lnTo>
                  <a:pt x="557" y="105"/>
                </a:lnTo>
                <a:lnTo>
                  <a:pt x="546" y="94"/>
                </a:lnTo>
                <a:lnTo>
                  <a:pt x="535" y="83"/>
                </a:lnTo>
                <a:lnTo>
                  <a:pt x="524" y="73"/>
                </a:lnTo>
                <a:lnTo>
                  <a:pt x="512" y="64"/>
                </a:lnTo>
                <a:lnTo>
                  <a:pt x="499" y="55"/>
                </a:lnTo>
                <a:lnTo>
                  <a:pt x="486" y="46"/>
                </a:lnTo>
                <a:lnTo>
                  <a:pt x="473" y="39"/>
                </a:lnTo>
                <a:lnTo>
                  <a:pt x="459" y="31"/>
                </a:lnTo>
                <a:lnTo>
                  <a:pt x="445" y="25"/>
                </a:lnTo>
                <a:lnTo>
                  <a:pt x="430" y="20"/>
                </a:lnTo>
                <a:lnTo>
                  <a:pt x="415" y="14"/>
                </a:lnTo>
                <a:lnTo>
                  <a:pt x="400" y="10"/>
                </a:lnTo>
                <a:lnTo>
                  <a:pt x="385" y="7"/>
                </a:lnTo>
                <a:lnTo>
                  <a:pt x="369" y="4"/>
                </a:lnTo>
                <a:lnTo>
                  <a:pt x="353" y="1"/>
                </a:lnTo>
                <a:lnTo>
                  <a:pt x="337" y="0"/>
                </a:lnTo>
                <a:lnTo>
                  <a:pt x="320" y="0"/>
                </a:lnTo>
                <a:lnTo>
                  <a:pt x="304" y="0"/>
                </a:lnTo>
                <a:lnTo>
                  <a:pt x="288" y="1"/>
                </a:lnTo>
                <a:lnTo>
                  <a:pt x="272" y="4"/>
                </a:lnTo>
                <a:lnTo>
                  <a:pt x="256" y="7"/>
                </a:lnTo>
                <a:lnTo>
                  <a:pt x="241" y="10"/>
                </a:lnTo>
                <a:lnTo>
                  <a:pt x="225" y="14"/>
                </a:lnTo>
                <a:lnTo>
                  <a:pt x="210" y="20"/>
                </a:lnTo>
                <a:lnTo>
                  <a:pt x="195" y="25"/>
                </a:lnTo>
                <a:lnTo>
                  <a:pt x="182" y="31"/>
                </a:lnTo>
                <a:lnTo>
                  <a:pt x="168" y="39"/>
                </a:lnTo>
                <a:lnTo>
                  <a:pt x="155" y="46"/>
                </a:lnTo>
                <a:lnTo>
                  <a:pt x="142" y="55"/>
                </a:lnTo>
                <a:lnTo>
                  <a:pt x="129" y="64"/>
                </a:lnTo>
                <a:lnTo>
                  <a:pt x="117" y="73"/>
                </a:lnTo>
                <a:lnTo>
                  <a:pt x="105" y="83"/>
                </a:lnTo>
                <a:lnTo>
                  <a:pt x="94" y="94"/>
                </a:lnTo>
                <a:lnTo>
                  <a:pt x="84" y="105"/>
                </a:lnTo>
                <a:lnTo>
                  <a:pt x="73" y="117"/>
                </a:lnTo>
                <a:lnTo>
                  <a:pt x="64" y="129"/>
                </a:lnTo>
                <a:lnTo>
                  <a:pt x="55" y="142"/>
                </a:lnTo>
                <a:lnTo>
                  <a:pt x="46" y="155"/>
                </a:lnTo>
                <a:lnTo>
                  <a:pt x="39" y="168"/>
                </a:lnTo>
                <a:lnTo>
                  <a:pt x="31" y="182"/>
                </a:lnTo>
                <a:lnTo>
                  <a:pt x="25" y="196"/>
                </a:lnTo>
                <a:lnTo>
                  <a:pt x="20" y="211"/>
                </a:lnTo>
                <a:lnTo>
                  <a:pt x="14" y="226"/>
                </a:lnTo>
                <a:lnTo>
                  <a:pt x="10" y="241"/>
                </a:lnTo>
                <a:lnTo>
                  <a:pt x="7" y="256"/>
                </a:lnTo>
                <a:lnTo>
                  <a:pt x="3" y="272"/>
                </a:lnTo>
                <a:lnTo>
                  <a:pt x="1" y="288"/>
                </a:lnTo>
                <a:lnTo>
                  <a:pt x="0" y="304"/>
                </a:lnTo>
                <a:lnTo>
                  <a:pt x="0" y="320"/>
                </a:lnTo>
                <a:lnTo>
                  <a:pt x="0" y="337"/>
                </a:lnTo>
                <a:lnTo>
                  <a:pt x="1" y="353"/>
                </a:lnTo>
                <a:lnTo>
                  <a:pt x="3" y="369"/>
                </a:lnTo>
                <a:lnTo>
                  <a:pt x="7" y="385"/>
                </a:lnTo>
                <a:lnTo>
                  <a:pt x="10" y="400"/>
                </a:lnTo>
                <a:lnTo>
                  <a:pt x="14" y="415"/>
                </a:lnTo>
                <a:lnTo>
                  <a:pt x="20" y="430"/>
                </a:lnTo>
                <a:lnTo>
                  <a:pt x="25" y="445"/>
                </a:lnTo>
                <a:lnTo>
                  <a:pt x="31" y="459"/>
                </a:lnTo>
                <a:lnTo>
                  <a:pt x="39" y="473"/>
                </a:lnTo>
                <a:lnTo>
                  <a:pt x="46" y="486"/>
                </a:lnTo>
                <a:lnTo>
                  <a:pt x="55" y="499"/>
                </a:lnTo>
                <a:lnTo>
                  <a:pt x="64" y="512"/>
                </a:lnTo>
                <a:lnTo>
                  <a:pt x="73" y="524"/>
                </a:lnTo>
                <a:lnTo>
                  <a:pt x="84" y="535"/>
                </a:lnTo>
                <a:lnTo>
                  <a:pt x="94" y="546"/>
                </a:lnTo>
                <a:lnTo>
                  <a:pt x="105" y="557"/>
                </a:lnTo>
                <a:lnTo>
                  <a:pt x="117" y="568"/>
                </a:lnTo>
                <a:lnTo>
                  <a:pt x="129" y="577"/>
                </a:lnTo>
                <a:lnTo>
                  <a:pt x="142" y="586"/>
                </a:lnTo>
                <a:lnTo>
                  <a:pt x="155" y="594"/>
                </a:lnTo>
                <a:lnTo>
                  <a:pt x="168" y="602"/>
                </a:lnTo>
                <a:lnTo>
                  <a:pt x="182" y="608"/>
                </a:lnTo>
                <a:lnTo>
                  <a:pt x="195" y="615"/>
                </a:lnTo>
                <a:lnTo>
                  <a:pt x="210" y="621"/>
                </a:lnTo>
                <a:lnTo>
                  <a:pt x="225" y="627"/>
                </a:lnTo>
                <a:lnTo>
                  <a:pt x="241" y="631"/>
                </a:lnTo>
                <a:lnTo>
                  <a:pt x="256" y="634"/>
                </a:lnTo>
                <a:lnTo>
                  <a:pt x="272" y="637"/>
                </a:lnTo>
                <a:lnTo>
                  <a:pt x="288" y="638"/>
                </a:lnTo>
                <a:lnTo>
                  <a:pt x="304" y="641"/>
                </a:lnTo>
                <a:lnTo>
                  <a:pt x="320" y="641"/>
                </a:lnTo>
                <a:lnTo>
                  <a:pt x="335" y="641"/>
                </a:lnTo>
                <a:lnTo>
                  <a:pt x="349" y="639"/>
                </a:lnTo>
                <a:lnTo>
                  <a:pt x="363" y="637"/>
                </a:lnTo>
                <a:lnTo>
                  <a:pt x="377" y="635"/>
                </a:lnTo>
                <a:lnTo>
                  <a:pt x="391" y="633"/>
                </a:lnTo>
                <a:lnTo>
                  <a:pt x="405" y="630"/>
                </a:lnTo>
                <a:lnTo>
                  <a:pt x="417" y="625"/>
                </a:lnTo>
                <a:lnTo>
                  <a:pt x="430" y="621"/>
                </a:lnTo>
                <a:lnTo>
                  <a:pt x="443" y="616"/>
                </a:lnTo>
                <a:lnTo>
                  <a:pt x="456" y="610"/>
                </a:lnTo>
                <a:lnTo>
                  <a:pt x="468" y="604"/>
                </a:lnTo>
                <a:lnTo>
                  <a:pt x="480" y="598"/>
                </a:lnTo>
                <a:lnTo>
                  <a:pt x="491" y="591"/>
                </a:lnTo>
                <a:lnTo>
                  <a:pt x="503" y="584"/>
                </a:lnTo>
                <a:lnTo>
                  <a:pt x="514" y="575"/>
                </a:lnTo>
                <a:lnTo>
                  <a:pt x="525" y="567"/>
                </a:lnTo>
                <a:lnTo>
                  <a:pt x="851" y="892"/>
                </a:lnTo>
                <a:lnTo>
                  <a:pt x="855" y="897"/>
                </a:lnTo>
                <a:lnTo>
                  <a:pt x="860" y="899"/>
                </a:lnTo>
                <a:lnTo>
                  <a:pt x="866" y="901"/>
                </a:lnTo>
                <a:lnTo>
                  <a:pt x="871" y="901"/>
                </a:lnTo>
                <a:lnTo>
                  <a:pt x="878" y="901"/>
                </a:lnTo>
                <a:lnTo>
                  <a:pt x="883" y="899"/>
                </a:lnTo>
                <a:lnTo>
                  <a:pt x="888" y="897"/>
                </a:lnTo>
                <a:lnTo>
                  <a:pt x="893" y="892"/>
                </a:lnTo>
                <a:lnTo>
                  <a:pt x="897" y="888"/>
                </a:lnTo>
                <a:lnTo>
                  <a:pt x="899" y="883"/>
                </a:lnTo>
                <a:lnTo>
                  <a:pt x="901" y="877"/>
                </a:lnTo>
                <a:lnTo>
                  <a:pt x="902" y="871"/>
                </a:lnTo>
                <a:lnTo>
                  <a:pt x="901" y="866"/>
                </a:lnTo>
                <a:lnTo>
                  <a:pt x="899" y="860"/>
                </a:lnTo>
                <a:lnTo>
                  <a:pt x="897" y="855"/>
                </a:lnTo>
                <a:lnTo>
                  <a:pt x="893" y="851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" name="Freeform 931">
            <a:extLst>
              <a:ext uri="{FF2B5EF4-FFF2-40B4-BE49-F238E27FC236}">
                <a16:creationId xmlns:a16="http://schemas.microsoft.com/office/drawing/2014/main" id="{9644418A-9E8D-411F-8DEA-25AAF3F15660}"/>
              </a:ext>
            </a:extLst>
          </p:cNvPr>
          <p:cNvSpPr>
            <a:spLocks noEditPoints="1"/>
          </p:cNvSpPr>
          <p:nvPr/>
        </p:nvSpPr>
        <p:spPr bwMode="auto">
          <a:xfrm>
            <a:off x="11247437" y="3897836"/>
            <a:ext cx="365126" cy="476250"/>
          </a:xfrm>
          <a:custGeom>
            <a:avLst/>
            <a:gdLst>
              <a:gd name="T0" fmla="*/ 348 w 553"/>
              <a:gd name="T1" fmla="*/ 11 h 722"/>
              <a:gd name="T2" fmla="*/ 348 w 553"/>
              <a:gd name="T3" fmla="*/ 204 h 722"/>
              <a:gd name="T4" fmla="*/ 108 w 553"/>
              <a:gd name="T5" fmla="*/ 602 h 722"/>
              <a:gd name="T6" fmla="*/ 99 w 553"/>
              <a:gd name="T7" fmla="*/ 599 h 722"/>
              <a:gd name="T8" fmla="*/ 95 w 553"/>
              <a:gd name="T9" fmla="*/ 590 h 722"/>
              <a:gd name="T10" fmla="*/ 96 w 553"/>
              <a:gd name="T11" fmla="*/ 236 h 722"/>
              <a:gd name="T12" fmla="*/ 104 w 553"/>
              <a:gd name="T13" fmla="*/ 230 h 722"/>
              <a:gd name="T14" fmla="*/ 113 w 553"/>
              <a:gd name="T15" fmla="*/ 230 h 722"/>
              <a:gd name="T16" fmla="*/ 119 w 553"/>
              <a:gd name="T17" fmla="*/ 236 h 722"/>
              <a:gd name="T18" fmla="*/ 120 w 553"/>
              <a:gd name="T19" fmla="*/ 467 h 722"/>
              <a:gd name="T20" fmla="*/ 233 w 553"/>
              <a:gd name="T21" fmla="*/ 365 h 722"/>
              <a:gd name="T22" fmla="*/ 241 w 553"/>
              <a:gd name="T23" fmla="*/ 365 h 722"/>
              <a:gd name="T24" fmla="*/ 327 w 553"/>
              <a:gd name="T25" fmla="*/ 421 h 722"/>
              <a:gd name="T26" fmla="*/ 440 w 553"/>
              <a:gd name="T27" fmla="*/ 303 h 722"/>
              <a:gd name="T28" fmla="*/ 447 w 553"/>
              <a:gd name="T29" fmla="*/ 301 h 722"/>
              <a:gd name="T30" fmla="*/ 451 w 553"/>
              <a:gd name="T31" fmla="*/ 303 h 722"/>
              <a:gd name="T32" fmla="*/ 456 w 553"/>
              <a:gd name="T33" fmla="*/ 308 h 722"/>
              <a:gd name="T34" fmla="*/ 456 w 553"/>
              <a:gd name="T35" fmla="*/ 317 h 722"/>
              <a:gd name="T36" fmla="*/ 338 w 553"/>
              <a:gd name="T37" fmla="*/ 446 h 722"/>
              <a:gd name="T38" fmla="*/ 330 w 553"/>
              <a:gd name="T39" fmla="*/ 449 h 722"/>
              <a:gd name="T40" fmla="*/ 322 w 553"/>
              <a:gd name="T41" fmla="*/ 448 h 722"/>
              <a:gd name="T42" fmla="*/ 120 w 553"/>
              <a:gd name="T43" fmla="*/ 500 h 722"/>
              <a:gd name="T44" fmla="*/ 450 w 553"/>
              <a:gd name="T45" fmla="*/ 577 h 722"/>
              <a:gd name="T46" fmla="*/ 458 w 553"/>
              <a:gd name="T47" fmla="*/ 581 h 722"/>
              <a:gd name="T48" fmla="*/ 462 w 553"/>
              <a:gd name="T49" fmla="*/ 590 h 722"/>
              <a:gd name="T50" fmla="*/ 458 w 553"/>
              <a:gd name="T51" fmla="*/ 599 h 722"/>
              <a:gd name="T52" fmla="*/ 450 w 553"/>
              <a:gd name="T53" fmla="*/ 602 h 722"/>
              <a:gd name="T54" fmla="*/ 357 w 553"/>
              <a:gd name="T55" fmla="*/ 3 h 722"/>
              <a:gd name="T56" fmla="*/ 348 w 553"/>
              <a:gd name="T57" fmla="*/ 0 h 722"/>
              <a:gd name="T58" fmla="*/ 7 w 553"/>
              <a:gd name="T59" fmla="*/ 1 h 722"/>
              <a:gd name="T60" fmla="*/ 1 w 553"/>
              <a:gd name="T61" fmla="*/ 7 h 722"/>
              <a:gd name="T62" fmla="*/ 0 w 553"/>
              <a:gd name="T63" fmla="*/ 710 h 722"/>
              <a:gd name="T64" fmla="*/ 3 w 553"/>
              <a:gd name="T65" fmla="*/ 719 h 722"/>
              <a:gd name="T66" fmla="*/ 12 w 553"/>
              <a:gd name="T67" fmla="*/ 722 h 722"/>
              <a:gd name="T68" fmla="*/ 546 w 553"/>
              <a:gd name="T69" fmla="*/ 721 h 722"/>
              <a:gd name="T70" fmla="*/ 552 w 553"/>
              <a:gd name="T71" fmla="*/ 715 h 722"/>
              <a:gd name="T72" fmla="*/ 553 w 553"/>
              <a:gd name="T73" fmla="*/ 204 h 722"/>
              <a:gd name="T74" fmla="*/ 550 w 553"/>
              <a:gd name="T75" fmla="*/ 196 h 7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553" h="722">
                <a:moveTo>
                  <a:pt x="348" y="204"/>
                </a:moveTo>
                <a:lnTo>
                  <a:pt x="348" y="11"/>
                </a:lnTo>
                <a:lnTo>
                  <a:pt x="541" y="204"/>
                </a:lnTo>
                <a:lnTo>
                  <a:pt x="348" y="204"/>
                </a:lnTo>
                <a:close/>
                <a:moveTo>
                  <a:pt x="450" y="602"/>
                </a:moveTo>
                <a:lnTo>
                  <a:pt x="108" y="602"/>
                </a:lnTo>
                <a:lnTo>
                  <a:pt x="104" y="601"/>
                </a:lnTo>
                <a:lnTo>
                  <a:pt x="99" y="599"/>
                </a:lnTo>
                <a:lnTo>
                  <a:pt x="96" y="595"/>
                </a:lnTo>
                <a:lnTo>
                  <a:pt x="95" y="590"/>
                </a:lnTo>
                <a:lnTo>
                  <a:pt x="95" y="241"/>
                </a:lnTo>
                <a:lnTo>
                  <a:pt x="96" y="236"/>
                </a:lnTo>
                <a:lnTo>
                  <a:pt x="99" y="232"/>
                </a:lnTo>
                <a:lnTo>
                  <a:pt x="104" y="230"/>
                </a:lnTo>
                <a:lnTo>
                  <a:pt x="108" y="229"/>
                </a:lnTo>
                <a:lnTo>
                  <a:pt x="113" y="230"/>
                </a:lnTo>
                <a:lnTo>
                  <a:pt x="117" y="232"/>
                </a:lnTo>
                <a:lnTo>
                  <a:pt x="119" y="236"/>
                </a:lnTo>
                <a:lnTo>
                  <a:pt x="120" y="241"/>
                </a:lnTo>
                <a:lnTo>
                  <a:pt x="120" y="467"/>
                </a:lnTo>
                <a:lnTo>
                  <a:pt x="230" y="368"/>
                </a:lnTo>
                <a:lnTo>
                  <a:pt x="233" y="365"/>
                </a:lnTo>
                <a:lnTo>
                  <a:pt x="237" y="364"/>
                </a:lnTo>
                <a:lnTo>
                  <a:pt x="241" y="365"/>
                </a:lnTo>
                <a:lnTo>
                  <a:pt x="244" y="367"/>
                </a:lnTo>
                <a:lnTo>
                  <a:pt x="327" y="421"/>
                </a:lnTo>
                <a:lnTo>
                  <a:pt x="436" y="306"/>
                </a:lnTo>
                <a:lnTo>
                  <a:pt x="440" y="303"/>
                </a:lnTo>
                <a:lnTo>
                  <a:pt x="445" y="301"/>
                </a:lnTo>
                <a:lnTo>
                  <a:pt x="447" y="301"/>
                </a:lnTo>
                <a:lnTo>
                  <a:pt x="449" y="302"/>
                </a:lnTo>
                <a:lnTo>
                  <a:pt x="451" y="303"/>
                </a:lnTo>
                <a:lnTo>
                  <a:pt x="453" y="304"/>
                </a:lnTo>
                <a:lnTo>
                  <a:pt x="456" y="308"/>
                </a:lnTo>
                <a:lnTo>
                  <a:pt x="457" y="313"/>
                </a:lnTo>
                <a:lnTo>
                  <a:pt x="456" y="317"/>
                </a:lnTo>
                <a:lnTo>
                  <a:pt x="454" y="321"/>
                </a:lnTo>
                <a:lnTo>
                  <a:pt x="338" y="446"/>
                </a:lnTo>
                <a:lnTo>
                  <a:pt x="334" y="448"/>
                </a:lnTo>
                <a:lnTo>
                  <a:pt x="330" y="449"/>
                </a:lnTo>
                <a:lnTo>
                  <a:pt x="326" y="449"/>
                </a:lnTo>
                <a:lnTo>
                  <a:pt x="322" y="448"/>
                </a:lnTo>
                <a:lnTo>
                  <a:pt x="239" y="393"/>
                </a:lnTo>
                <a:lnTo>
                  <a:pt x="120" y="500"/>
                </a:lnTo>
                <a:lnTo>
                  <a:pt x="120" y="577"/>
                </a:lnTo>
                <a:lnTo>
                  <a:pt x="450" y="577"/>
                </a:lnTo>
                <a:lnTo>
                  <a:pt x="455" y="578"/>
                </a:lnTo>
                <a:lnTo>
                  <a:pt x="458" y="581"/>
                </a:lnTo>
                <a:lnTo>
                  <a:pt x="461" y="585"/>
                </a:lnTo>
                <a:lnTo>
                  <a:pt x="462" y="590"/>
                </a:lnTo>
                <a:lnTo>
                  <a:pt x="461" y="595"/>
                </a:lnTo>
                <a:lnTo>
                  <a:pt x="458" y="599"/>
                </a:lnTo>
                <a:lnTo>
                  <a:pt x="455" y="601"/>
                </a:lnTo>
                <a:lnTo>
                  <a:pt x="450" y="602"/>
                </a:lnTo>
                <a:close/>
                <a:moveTo>
                  <a:pt x="550" y="196"/>
                </a:moveTo>
                <a:lnTo>
                  <a:pt x="357" y="3"/>
                </a:lnTo>
                <a:lnTo>
                  <a:pt x="353" y="0"/>
                </a:lnTo>
                <a:lnTo>
                  <a:pt x="348" y="0"/>
                </a:lnTo>
                <a:lnTo>
                  <a:pt x="12" y="0"/>
                </a:lnTo>
                <a:lnTo>
                  <a:pt x="7" y="1"/>
                </a:lnTo>
                <a:lnTo>
                  <a:pt x="3" y="3"/>
                </a:lnTo>
                <a:lnTo>
                  <a:pt x="1" y="7"/>
                </a:lnTo>
                <a:lnTo>
                  <a:pt x="0" y="11"/>
                </a:lnTo>
                <a:lnTo>
                  <a:pt x="0" y="710"/>
                </a:lnTo>
                <a:lnTo>
                  <a:pt x="1" y="715"/>
                </a:lnTo>
                <a:lnTo>
                  <a:pt x="3" y="719"/>
                </a:lnTo>
                <a:lnTo>
                  <a:pt x="7" y="721"/>
                </a:lnTo>
                <a:lnTo>
                  <a:pt x="12" y="722"/>
                </a:lnTo>
                <a:lnTo>
                  <a:pt x="541" y="722"/>
                </a:lnTo>
                <a:lnTo>
                  <a:pt x="546" y="721"/>
                </a:lnTo>
                <a:lnTo>
                  <a:pt x="550" y="719"/>
                </a:lnTo>
                <a:lnTo>
                  <a:pt x="552" y="715"/>
                </a:lnTo>
                <a:lnTo>
                  <a:pt x="553" y="710"/>
                </a:lnTo>
                <a:lnTo>
                  <a:pt x="553" y="204"/>
                </a:lnTo>
                <a:lnTo>
                  <a:pt x="552" y="200"/>
                </a:lnTo>
                <a:lnTo>
                  <a:pt x="550" y="196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870D2328-961D-47B3-876C-CE5B95FB71BF}"/>
              </a:ext>
            </a:extLst>
          </p:cNvPr>
          <p:cNvGrpSpPr/>
          <p:nvPr/>
        </p:nvGrpSpPr>
        <p:grpSpPr>
          <a:xfrm>
            <a:off x="11193187" y="5347544"/>
            <a:ext cx="473626" cy="473626"/>
            <a:chOff x="4319588" y="2492375"/>
            <a:chExt cx="287338" cy="287338"/>
          </a:xfrm>
          <a:solidFill>
            <a:schemeClr val="accent5"/>
          </a:solidFill>
        </p:grpSpPr>
        <p:sp>
          <p:nvSpPr>
            <p:cNvPr id="18" name="Freeform 372">
              <a:extLst>
                <a:ext uri="{FF2B5EF4-FFF2-40B4-BE49-F238E27FC236}">
                  <a16:creationId xmlns:a16="http://schemas.microsoft.com/office/drawing/2014/main" id="{C15563AD-8919-44C8-8A9E-5BD4E048C07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19588" y="2587625"/>
              <a:ext cx="287338" cy="192088"/>
            </a:xfrm>
            <a:custGeom>
              <a:avLst/>
              <a:gdLst>
                <a:gd name="T0" fmla="*/ 843 w 904"/>
                <a:gd name="T1" fmla="*/ 572 h 602"/>
                <a:gd name="T2" fmla="*/ 843 w 904"/>
                <a:gd name="T3" fmla="*/ 12 h 602"/>
                <a:gd name="T4" fmla="*/ 841 w 904"/>
                <a:gd name="T5" fmla="*/ 7 h 602"/>
                <a:gd name="T6" fmla="*/ 836 w 904"/>
                <a:gd name="T7" fmla="*/ 3 h 602"/>
                <a:gd name="T8" fmla="*/ 831 w 904"/>
                <a:gd name="T9" fmla="*/ 1 h 602"/>
                <a:gd name="T10" fmla="*/ 708 w 904"/>
                <a:gd name="T11" fmla="*/ 0 h 602"/>
                <a:gd name="T12" fmla="*/ 702 w 904"/>
                <a:gd name="T13" fmla="*/ 2 h 602"/>
                <a:gd name="T14" fmla="*/ 697 w 904"/>
                <a:gd name="T15" fmla="*/ 5 h 602"/>
                <a:gd name="T16" fmla="*/ 694 w 904"/>
                <a:gd name="T17" fmla="*/ 9 h 602"/>
                <a:gd name="T18" fmla="*/ 693 w 904"/>
                <a:gd name="T19" fmla="*/ 16 h 602"/>
                <a:gd name="T20" fmla="*/ 632 w 904"/>
                <a:gd name="T21" fmla="*/ 572 h 602"/>
                <a:gd name="T22" fmla="*/ 632 w 904"/>
                <a:gd name="T23" fmla="*/ 283 h 602"/>
                <a:gd name="T24" fmla="*/ 630 w 904"/>
                <a:gd name="T25" fmla="*/ 277 h 602"/>
                <a:gd name="T26" fmla="*/ 626 w 904"/>
                <a:gd name="T27" fmla="*/ 274 h 602"/>
                <a:gd name="T28" fmla="*/ 621 w 904"/>
                <a:gd name="T29" fmla="*/ 271 h 602"/>
                <a:gd name="T30" fmla="*/ 497 w 904"/>
                <a:gd name="T31" fmla="*/ 271 h 602"/>
                <a:gd name="T32" fmla="*/ 491 w 904"/>
                <a:gd name="T33" fmla="*/ 272 h 602"/>
                <a:gd name="T34" fmla="*/ 487 w 904"/>
                <a:gd name="T35" fmla="*/ 275 h 602"/>
                <a:gd name="T36" fmla="*/ 483 w 904"/>
                <a:gd name="T37" fmla="*/ 281 h 602"/>
                <a:gd name="T38" fmla="*/ 482 w 904"/>
                <a:gd name="T39" fmla="*/ 286 h 602"/>
                <a:gd name="T40" fmla="*/ 421 w 904"/>
                <a:gd name="T41" fmla="*/ 572 h 602"/>
                <a:gd name="T42" fmla="*/ 421 w 904"/>
                <a:gd name="T43" fmla="*/ 193 h 602"/>
                <a:gd name="T44" fmla="*/ 419 w 904"/>
                <a:gd name="T45" fmla="*/ 187 h 602"/>
                <a:gd name="T46" fmla="*/ 415 w 904"/>
                <a:gd name="T47" fmla="*/ 183 h 602"/>
                <a:gd name="T48" fmla="*/ 409 w 904"/>
                <a:gd name="T49" fmla="*/ 181 h 602"/>
                <a:gd name="T50" fmla="*/ 286 w 904"/>
                <a:gd name="T51" fmla="*/ 181 h 602"/>
                <a:gd name="T52" fmla="*/ 281 w 904"/>
                <a:gd name="T53" fmla="*/ 182 h 602"/>
                <a:gd name="T54" fmla="*/ 275 w 904"/>
                <a:gd name="T55" fmla="*/ 185 h 602"/>
                <a:gd name="T56" fmla="*/ 272 w 904"/>
                <a:gd name="T57" fmla="*/ 190 h 602"/>
                <a:gd name="T58" fmla="*/ 271 w 904"/>
                <a:gd name="T59" fmla="*/ 196 h 602"/>
                <a:gd name="T60" fmla="*/ 211 w 904"/>
                <a:gd name="T61" fmla="*/ 572 h 602"/>
                <a:gd name="T62" fmla="*/ 211 w 904"/>
                <a:gd name="T63" fmla="*/ 404 h 602"/>
                <a:gd name="T64" fmla="*/ 209 w 904"/>
                <a:gd name="T65" fmla="*/ 399 h 602"/>
                <a:gd name="T66" fmla="*/ 205 w 904"/>
                <a:gd name="T67" fmla="*/ 394 h 602"/>
                <a:gd name="T68" fmla="*/ 199 w 904"/>
                <a:gd name="T69" fmla="*/ 392 h 602"/>
                <a:gd name="T70" fmla="*/ 76 w 904"/>
                <a:gd name="T71" fmla="*/ 391 h 602"/>
                <a:gd name="T72" fmla="*/ 69 w 904"/>
                <a:gd name="T73" fmla="*/ 392 h 602"/>
                <a:gd name="T74" fmla="*/ 65 w 904"/>
                <a:gd name="T75" fmla="*/ 396 h 602"/>
                <a:gd name="T76" fmla="*/ 62 w 904"/>
                <a:gd name="T77" fmla="*/ 401 h 602"/>
                <a:gd name="T78" fmla="*/ 61 w 904"/>
                <a:gd name="T79" fmla="*/ 406 h 602"/>
                <a:gd name="T80" fmla="*/ 15 w 904"/>
                <a:gd name="T81" fmla="*/ 572 h 602"/>
                <a:gd name="T82" fmla="*/ 9 w 904"/>
                <a:gd name="T83" fmla="*/ 573 h 602"/>
                <a:gd name="T84" fmla="*/ 5 w 904"/>
                <a:gd name="T85" fmla="*/ 577 h 602"/>
                <a:gd name="T86" fmla="*/ 2 w 904"/>
                <a:gd name="T87" fmla="*/ 581 h 602"/>
                <a:gd name="T88" fmla="*/ 0 w 904"/>
                <a:gd name="T89" fmla="*/ 587 h 602"/>
                <a:gd name="T90" fmla="*/ 2 w 904"/>
                <a:gd name="T91" fmla="*/ 593 h 602"/>
                <a:gd name="T92" fmla="*/ 5 w 904"/>
                <a:gd name="T93" fmla="*/ 598 h 602"/>
                <a:gd name="T94" fmla="*/ 9 w 904"/>
                <a:gd name="T95" fmla="*/ 601 h 602"/>
                <a:gd name="T96" fmla="*/ 15 w 904"/>
                <a:gd name="T97" fmla="*/ 602 h 602"/>
                <a:gd name="T98" fmla="*/ 196 w 904"/>
                <a:gd name="T99" fmla="*/ 602 h 602"/>
                <a:gd name="T100" fmla="*/ 406 w 904"/>
                <a:gd name="T101" fmla="*/ 602 h 602"/>
                <a:gd name="T102" fmla="*/ 617 w 904"/>
                <a:gd name="T103" fmla="*/ 602 h 602"/>
                <a:gd name="T104" fmla="*/ 828 w 904"/>
                <a:gd name="T105" fmla="*/ 602 h 602"/>
                <a:gd name="T106" fmla="*/ 891 w 904"/>
                <a:gd name="T107" fmla="*/ 602 h 602"/>
                <a:gd name="T108" fmla="*/ 896 w 904"/>
                <a:gd name="T109" fmla="*/ 600 h 602"/>
                <a:gd name="T110" fmla="*/ 901 w 904"/>
                <a:gd name="T111" fmla="*/ 596 h 602"/>
                <a:gd name="T112" fmla="*/ 903 w 904"/>
                <a:gd name="T113" fmla="*/ 591 h 602"/>
                <a:gd name="T114" fmla="*/ 903 w 904"/>
                <a:gd name="T115" fmla="*/ 584 h 602"/>
                <a:gd name="T116" fmla="*/ 901 w 904"/>
                <a:gd name="T117" fmla="*/ 579 h 602"/>
                <a:gd name="T118" fmla="*/ 896 w 904"/>
                <a:gd name="T119" fmla="*/ 575 h 602"/>
                <a:gd name="T120" fmla="*/ 891 w 904"/>
                <a:gd name="T121" fmla="*/ 572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04" h="602">
                  <a:moveTo>
                    <a:pt x="889" y="572"/>
                  </a:moveTo>
                  <a:lnTo>
                    <a:pt x="843" y="572"/>
                  </a:lnTo>
                  <a:lnTo>
                    <a:pt x="843" y="16"/>
                  </a:lnTo>
                  <a:lnTo>
                    <a:pt x="843" y="12"/>
                  </a:lnTo>
                  <a:lnTo>
                    <a:pt x="842" y="9"/>
                  </a:lnTo>
                  <a:lnTo>
                    <a:pt x="841" y="7"/>
                  </a:lnTo>
                  <a:lnTo>
                    <a:pt x="838" y="5"/>
                  </a:lnTo>
                  <a:lnTo>
                    <a:pt x="836" y="3"/>
                  </a:lnTo>
                  <a:lnTo>
                    <a:pt x="834" y="2"/>
                  </a:lnTo>
                  <a:lnTo>
                    <a:pt x="831" y="1"/>
                  </a:lnTo>
                  <a:lnTo>
                    <a:pt x="828" y="1"/>
                  </a:lnTo>
                  <a:lnTo>
                    <a:pt x="708" y="0"/>
                  </a:lnTo>
                  <a:lnTo>
                    <a:pt x="704" y="1"/>
                  </a:lnTo>
                  <a:lnTo>
                    <a:pt x="702" y="2"/>
                  </a:lnTo>
                  <a:lnTo>
                    <a:pt x="699" y="3"/>
                  </a:lnTo>
                  <a:lnTo>
                    <a:pt x="697" y="5"/>
                  </a:lnTo>
                  <a:lnTo>
                    <a:pt x="695" y="7"/>
                  </a:lnTo>
                  <a:lnTo>
                    <a:pt x="694" y="9"/>
                  </a:lnTo>
                  <a:lnTo>
                    <a:pt x="693" y="12"/>
                  </a:lnTo>
                  <a:lnTo>
                    <a:pt x="693" y="16"/>
                  </a:lnTo>
                  <a:lnTo>
                    <a:pt x="693" y="572"/>
                  </a:lnTo>
                  <a:lnTo>
                    <a:pt x="632" y="572"/>
                  </a:lnTo>
                  <a:lnTo>
                    <a:pt x="632" y="286"/>
                  </a:lnTo>
                  <a:lnTo>
                    <a:pt x="632" y="283"/>
                  </a:lnTo>
                  <a:lnTo>
                    <a:pt x="631" y="281"/>
                  </a:lnTo>
                  <a:lnTo>
                    <a:pt x="630" y="277"/>
                  </a:lnTo>
                  <a:lnTo>
                    <a:pt x="628" y="275"/>
                  </a:lnTo>
                  <a:lnTo>
                    <a:pt x="626" y="274"/>
                  </a:lnTo>
                  <a:lnTo>
                    <a:pt x="623" y="272"/>
                  </a:lnTo>
                  <a:lnTo>
                    <a:pt x="621" y="271"/>
                  </a:lnTo>
                  <a:lnTo>
                    <a:pt x="617" y="271"/>
                  </a:lnTo>
                  <a:lnTo>
                    <a:pt x="497" y="271"/>
                  </a:lnTo>
                  <a:lnTo>
                    <a:pt x="494" y="271"/>
                  </a:lnTo>
                  <a:lnTo>
                    <a:pt x="491" y="272"/>
                  </a:lnTo>
                  <a:lnTo>
                    <a:pt x="489" y="274"/>
                  </a:lnTo>
                  <a:lnTo>
                    <a:pt x="487" y="275"/>
                  </a:lnTo>
                  <a:lnTo>
                    <a:pt x="484" y="277"/>
                  </a:lnTo>
                  <a:lnTo>
                    <a:pt x="483" y="281"/>
                  </a:lnTo>
                  <a:lnTo>
                    <a:pt x="482" y="283"/>
                  </a:lnTo>
                  <a:lnTo>
                    <a:pt x="482" y="286"/>
                  </a:lnTo>
                  <a:lnTo>
                    <a:pt x="482" y="572"/>
                  </a:lnTo>
                  <a:lnTo>
                    <a:pt x="421" y="572"/>
                  </a:lnTo>
                  <a:lnTo>
                    <a:pt x="421" y="196"/>
                  </a:lnTo>
                  <a:lnTo>
                    <a:pt x="421" y="193"/>
                  </a:lnTo>
                  <a:lnTo>
                    <a:pt x="420" y="190"/>
                  </a:lnTo>
                  <a:lnTo>
                    <a:pt x="419" y="187"/>
                  </a:lnTo>
                  <a:lnTo>
                    <a:pt x="417" y="185"/>
                  </a:lnTo>
                  <a:lnTo>
                    <a:pt x="415" y="183"/>
                  </a:lnTo>
                  <a:lnTo>
                    <a:pt x="413" y="182"/>
                  </a:lnTo>
                  <a:lnTo>
                    <a:pt x="409" y="181"/>
                  </a:lnTo>
                  <a:lnTo>
                    <a:pt x="406" y="181"/>
                  </a:lnTo>
                  <a:lnTo>
                    <a:pt x="286" y="181"/>
                  </a:lnTo>
                  <a:lnTo>
                    <a:pt x="283" y="181"/>
                  </a:lnTo>
                  <a:lnTo>
                    <a:pt x="281" y="182"/>
                  </a:lnTo>
                  <a:lnTo>
                    <a:pt x="277" y="183"/>
                  </a:lnTo>
                  <a:lnTo>
                    <a:pt x="275" y="185"/>
                  </a:lnTo>
                  <a:lnTo>
                    <a:pt x="273" y="187"/>
                  </a:lnTo>
                  <a:lnTo>
                    <a:pt x="272" y="190"/>
                  </a:lnTo>
                  <a:lnTo>
                    <a:pt x="271" y="193"/>
                  </a:lnTo>
                  <a:lnTo>
                    <a:pt x="271" y="196"/>
                  </a:lnTo>
                  <a:lnTo>
                    <a:pt x="271" y="572"/>
                  </a:lnTo>
                  <a:lnTo>
                    <a:pt x="211" y="572"/>
                  </a:lnTo>
                  <a:lnTo>
                    <a:pt x="211" y="406"/>
                  </a:lnTo>
                  <a:lnTo>
                    <a:pt x="211" y="404"/>
                  </a:lnTo>
                  <a:lnTo>
                    <a:pt x="210" y="401"/>
                  </a:lnTo>
                  <a:lnTo>
                    <a:pt x="209" y="399"/>
                  </a:lnTo>
                  <a:lnTo>
                    <a:pt x="207" y="396"/>
                  </a:lnTo>
                  <a:lnTo>
                    <a:pt x="205" y="394"/>
                  </a:lnTo>
                  <a:lnTo>
                    <a:pt x="201" y="393"/>
                  </a:lnTo>
                  <a:lnTo>
                    <a:pt x="199" y="392"/>
                  </a:lnTo>
                  <a:lnTo>
                    <a:pt x="196" y="391"/>
                  </a:lnTo>
                  <a:lnTo>
                    <a:pt x="76" y="391"/>
                  </a:lnTo>
                  <a:lnTo>
                    <a:pt x="73" y="392"/>
                  </a:lnTo>
                  <a:lnTo>
                    <a:pt x="69" y="392"/>
                  </a:lnTo>
                  <a:lnTo>
                    <a:pt x="67" y="394"/>
                  </a:lnTo>
                  <a:lnTo>
                    <a:pt x="65" y="396"/>
                  </a:lnTo>
                  <a:lnTo>
                    <a:pt x="63" y="399"/>
                  </a:lnTo>
                  <a:lnTo>
                    <a:pt x="62" y="401"/>
                  </a:lnTo>
                  <a:lnTo>
                    <a:pt x="61" y="404"/>
                  </a:lnTo>
                  <a:lnTo>
                    <a:pt x="61" y="406"/>
                  </a:lnTo>
                  <a:lnTo>
                    <a:pt x="61" y="572"/>
                  </a:lnTo>
                  <a:lnTo>
                    <a:pt x="15" y="572"/>
                  </a:lnTo>
                  <a:lnTo>
                    <a:pt x="13" y="572"/>
                  </a:lnTo>
                  <a:lnTo>
                    <a:pt x="9" y="573"/>
                  </a:lnTo>
                  <a:lnTo>
                    <a:pt x="7" y="575"/>
                  </a:lnTo>
                  <a:lnTo>
                    <a:pt x="5" y="577"/>
                  </a:lnTo>
                  <a:lnTo>
                    <a:pt x="3" y="579"/>
                  </a:lnTo>
                  <a:lnTo>
                    <a:pt x="2" y="581"/>
                  </a:lnTo>
                  <a:lnTo>
                    <a:pt x="1" y="584"/>
                  </a:lnTo>
                  <a:lnTo>
                    <a:pt x="0" y="587"/>
                  </a:lnTo>
                  <a:lnTo>
                    <a:pt x="1" y="591"/>
                  </a:lnTo>
                  <a:lnTo>
                    <a:pt x="2" y="593"/>
                  </a:lnTo>
                  <a:lnTo>
                    <a:pt x="3" y="596"/>
                  </a:lnTo>
                  <a:lnTo>
                    <a:pt x="5" y="598"/>
                  </a:lnTo>
                  <a:lnTo>
                    <a:pt x="7" y="600"/>
                  </a:lnTo>
                  <a:lnTo>
                    <a:pt x="9" y="601"/>
                  </a:lnTo>
                  <a:lnTo>
                    <a:pt x="13" y="602"/>
                  </a:lnTo>
                  <a:lnTo>
                    <a:pt x="15" y="602"/>
                  </a:lnTo>
                  <a:lnTo>
                    <a:pt x="76" y="602"/>
                  </a:lnTo>
                  <a:lnTo>
                    <a:pt x="196" y="602"/>
                  </a:lnTo>
                  <a:lnTo>
                    <a:pt x="286" y="602"/>
                  </a:lnTo>
                  <a:lnTo>
                    <a:pt x="406" y="602"/>
                  </a:lnTo>
                  <a:lnTo>
                    <a:pt x="497" y="602"/>
                  </a:lnTo>
                  <a:lnTo>
                    <a:pt x="617" y="602"/>
                  </a:lnTo>
                  <a:lnTo>
                    <a:pt x="708" y="602"/>
                  </a:lnTo>
                  <a:lnTo>
                    <a:pt x="828" y="602"/>
                  </a:lnTo>
                  <a:lnTo>
                    <a:pt x="889" y="602"/>
                  </a:lnTo>
                  <a:lnTo>
                    <a:pt x="891" y="602"/>
                  </a:lnTo>
                  <a:lnTo>
                    <a:pt x="894" y="601"/>
                  </a:lnTo>
                  <a:lnTo>
                    <a:pt x="896" y="600"/>
                  </a:lnTo>
                  <a:lnTo>
                    <a:pt x="898" y="598"/>
                  </a:lnTo>
                  <a:lnTo>
                    <a:pt x="901" y="596"/>
                  </a:lnTo>
                  <a:lnTo>
                    <a:pt x="902" y="593"/>
                  </a:lnTo>
                  <a:lnTo>
                    <a:pt x="903" y="591"/>
                  </a:lnTo>
                  <a:lnTo>
                    <a:pt x="904" y="587"/>
                  </a:lnTo>
                  <a:lnTo>
                    <a:pt x="903" y="584"/>
                  </a:lnTo>
                  <a:lnTo>
                    <a:pt x="902" y="581"/>
                  </a:lnTo>
                  <a:lnTo>
                    <a:pt x="901" y="579"/>
                  </a:lnTo>
                  <a:lnTo>
                    <a:pt x="898" y="577"/>
                  </a:lnTo>
                  <a:lnTo>
                    <a:pt x="896" y="575"/>
                  </a:lnTo>
                  <a:lnTo>
                    <a:pt x="894" y="573"/>
                  </a:lnTo>
                  <a:lnTo>
                    <a:pt x="891" y="572"/>
                  </a:lnTo>
                  <a:lnTo>
                    <a:pt x="889" y="5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373">
              <a:extLst>
                <a:ext uri="{FF2B5EF4-FFF2-40B4-BE49-F238E27FC236}">
                  <a16:creationId xmlns:a16="http://schemas.microsoft.com/office/drawing/2014/main" id="{30514082-6BE3-4C6C-AF3D-4DAEDDDDCF9D}"/>
                </a:ext>
              </a:extLst>
            </p:cNvPr>
            <p:cNvSpPr>
              <a:spLocks/>
            </p:cNvSpPr>
            <p:nvPr/>
          </p:nvSpPr>
          <p:spPr bwMode="auto">
            <a:xfrm>
              <a:off x="4338638" y="2492375"/>
              <a:ext cx="252413" cy="157163"/>
            </a:xfrm>
            <a:custGeom>
              <a:avLst/>
              <a:gdLst>
                <a:gd name="T0" fmla="*/ 77 w 797"/>
                <a:gd name="T1" fmla="*/ 494 h 497"/>
                <a:gd name="T2" fmla="*/ 97 w 797"/>
                <a:gd name="T3" fmla="*/ 483 h 497"/>
                <a:gd name="T4" fmla="*/ 112 w 797"/>
                <a:gd name="T5" fmla="*/ 466 h 497"/>
                <a:gd name="T6" fmla="*/ 120 w 797"/>
                <a:gd name="T7" fmla="*/ 443 h 497"/>
                <a:gd name="T8" fmla="*/ 116 w 797"/>
                <a:gd name="T9" fmla="*/ 416 h 497"/>
                <a:gd name="T10" fmla="*/ 267 w 797"/>
                <a:gd name="T11" fmla="*/ 298 h 497"/>
                <a:gd name="T12" fmla="*/ 300 w 797"/>
                <a:gd name="T13" fmla="*/ 299 h 497"/>
                <a:gd name="T14" fmla="*/ 325 w 797"/>
                <a:gd name="T15" fmla="*/ 287 h 497"/>
                <a:gd name="T16" fmla="*/ 451 w 797"/>
                <a:gd name="T17" fmla="*/ 327 h 497"/>
                <a:gd name="T18" fmla="*/ 454 w 797"/>
                <a:gd name="T19" fmla="*/ 349 h 497"/>
                <a:gd name="T20" fmla="*/ 464 w 797"/>
                <a:gd name="T21" fmla="*/ 369 h 497"/>
                <a:gd name="T22" fmla="*/ 482 w 797"/>
                <a:gd name="T23" fmla="*/ 384 h 497"/>
                <a:gd name="T24" fmla="*/ 505 w 797"/>
                <a:gd name="T25" fmla="*/ 391 h 497"/>
                <a:gd name="T26" fmla="*/ 529 w 797"/>
                <a:gd name="T27" fmla="*/ 389 h 497"/>
                <a:gd name="T28" fmla="*/ 550 w 797"/>
                <a:gd name="T29" fmla="*/ 378 h 497"/>
                <a:gd name="T30" fmla="*/ 564 w 797"/>
                <a:gd name="T31" fmla="*/ 360 h 497"/>
                <a:gd name="T32" fmla="*/ 571 w 797"/>
                <a:gd name="T33" fmla="*/ 337 h 497"/>
                <a:gd name="T34" fmla="*/ 565 w 797"/>
                <a:gd name="T35" fmla="*/ 304 h 497"/>
                <a:gd name="T36" fmla="*/ 724 w 797"/>
                <a:gd name="T37" fmla="*/ 119 h 497"/>
                <a:gd name="T38" fmla="*/ 750 w 797"/>
                <a:gd name="T39" fmla="*/ 119 h 497"/>
                <a:gd name="T40" fmla="*/ 771 w 797"/>
                <a:gd name="T41" fmla="*/ 110 h 497"/>
                <a:gd name="T42" fmla="*/ 787 w 797"/>
                <a:gd name="T43" fmla="*/ 94 h 497"/>
                <a:gd name="T44" fmla="*/ 796 w 797"/>
                <a:gd name="T45" fmla="*/ 72 h 497"/>
                <a:gd name="T46" fmla="*/ 796 w 797"/>
                <a:gd name="T47" fmla="*/ 48 h 497"/>
                <a:gd name="T48" fmla="*/ 787 w 797"/>
                <a:gd name="T49" fmla="*/ 27 h 497"/>
                <a:gd name="T50" fmla="*/ 771 w 797"/>
                <a:gd name="T51" fmla="*/ 10 h 497"/>
                <a:gd name="T52" fmla="*/ 750 w 797"/>
                <a:gd name="T53" fmla="*/ 1 h 497"/>
                <a:gd name="T54" fmla="*/ 725 w 797"/>
                <a:gd name="T55" fmla="*/ 1 h 497"/>
                <a:gd name="T56" fmla="*/ 703 w 797"/>
                <a:gd name="T57" fmla="*/ 10 h 497"/>
                <a:gd name="T58" fmla="*/ 687 w 797"/>
                <a:gd name="T59" fmla="*/ 27 h 497"/>
                <a:gd name="T60" fmla="*/ 678 w 797"/>
                <a:gd name="T61" fmla="*/ 48 h 497"/>
                <a:gd name="T62" fmla="*/ 680 w 797"/>
                <a:gd name="T63" fmla="*/ 79 h 497"/>
                <a:gd name="T64" fmla="*/ 531 w 797"/>
                <a:gd name="T65" fmla="*/ 275 h 497"/>
                <a:gd name="T66" fmla="*/ 504 w 797"/>
                <a:gd name="T67" fmla="*/ 272 h 497"/>
                <a:gd name="T68" fmla="*/ 478 w 797"/>
                <a:gd name="T69" fmla="*/ 281 h 497"/>
                <a:gd name="T70" fmla="*/ 345 w 797"/>
                <a:gd name="T71" fmla="*/ 248 h 497"/>
                <a:gd name="T72" fmla="*/ 344 w 797"/>
                <a:gd name="T73" fmla="*/ 229 h 497"/>
                <a:gd name="T74" fmla="*/ 336 w 797"/>
                <a:gd name="T75" fmla="*/ 207 h 497"/>
                <a:gd name="T76" fmla="*/ 319 w 797"/>
                <a:gd name="T77" fmla="*/ 191 h 497"/>
                <a:gd name="T78" fmla="*/ 298 w 797"/>
                <a:gd name="T79" fmla="*/ 181 h 497"/>
                <a:gd name="T80" fmla="*/ 273 w 797"/>
                <a:gd name="T81" fmla="*/ 181 h 497"/>
                <a:gd name="T82" fmla="*/ 252 w 797"/>
                <a:gd name="T83" fmla="*/ 191 h 497"/>
                <a:gd name="T84" fmla="*/ 236 w 797"/>
                <a:gd name="T85" fmla="*/ 207 h 497"/>
                <a:gd name="T86" fmla="*/ 226 w 797"/>
                <a:gd name="T87" fmla="*/ 229 h 497"/>
                <a:gd name="T88" fmla="*/ 227 w 797"/>
                <a:gd name="T89" fmla="*/ 254 h 497"/>
                <a:gd name="T90" fmla="*/ 86 w 797"/>
                <a:gd name="T91" fmla="*/ 382 h 497"/>
                <a:gd name="T92" fmla="*/ 53 w 797"/>
                <a:gd name="T93" fmla="*/ 377 h 497"/>
                <a:gd name="T94" fmla="*/ 31 w 797"/>
                <a:gd name="T95" fmla="*/ 383 h 497"/>
                <a:gd name="T96" fmla="*/ 13 w 797"/>
                <a:gd name="T97" fmla="*/ 398 h 497"/>
                <a:gd name="T98" fmla="*/ 2 w 797"/>
                <a:gd name="T99" fmla="*/ 419 h 497"/>
                <a:gd name="T100" fmla="*/ 0 w 797"/>
                <a:gd name="T101" fmla="*/ 443 h 497"/>
                <a:gd name="T102" fmla="*/ 6 w 797"/>
                <a:gd name="T103" fmla="*/ 466 h 497"/>
                <a:gd name="T104" fmla="*/ 21 w 797"/>
                <a:gd name="T105" fmla="*/ 483 h 497"/>
                <a:gd name="T106" fmla="*/ 42 w 797"/>
                <a:gd name="T107" fmla="*/ 494 h 4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97" h="497">
                  <a:moveTo>
                    <a:pt x="60" y="497"/>
                  </a:moveTo>
                  <a:lnTo>
                    <a:pt x="65" y="497"/>
                  </a:lnTo>
                  <a:lnTo>
                    <a:pt x="72" y="496"/>
                  </a:lnTo>
                  <a:lnTo>
                    <a:pt x="77" y="494"/>
                  </a:lnTo>
                  <a:lnTo>
                    <a:pt x="83" y="493"/>
                  </a:lnTo>
                  <a:lnTo>
                    <a:pt x="89" y="489"/>
                  </a:lnTo>
                  <a:lnTo>
                    <a:pt x="93" y="486"/>
                  </a:lnTo>
                  <a:lnTo>
                    <a:pt x="97" y="483"/>
                  </a:lnTo>
                  <a:lnTo>
                    <a:pt x="102" y="480"/>
                  </a:lnTo>
                  <a:lnTo>
                    <a:pt x="106" y="475"/>
                  </a:lnTo>
                  <a:lnTo>
                    <a:pt x="109" y="470"/>
                  </a:lnTo>
                  <a:lnTo>
                    <a:pt x="112" y="466"/>
                  </a:lnTo>
                  <a:lnTo>
                    <a:pt x="115" y="460"/>
                  </a:lnTo>
                  <a:lnTo>
                    <a:pt x="117" y="455"/>
                  </a:lnTo>
                  <a:lnTo>
                    <a:pt x="119" y="449"/>
                  </a:lnTo>
                  <a:lnTo>
                    <a:pt x="120" y="443"/>
                  </a:lnTo>
                  <a:lnTo>
                    <a:pt x="120" y="437"/>
                  </a:lnTo>
                  <a:lnTo>
                    <a:pt x="119" y="429"/>
                  </a:lnTo>
                  <a:lnTo>
                    <a:pt x="118" y="423"/>
                  </a:lnTo>
                  <a:lnTo>
                    <a:pt x="116" y="416"/>
                  </a:lnTo>
                  <a:lnTo>
                    <a:pt x="114" y="410"/>
                  </a:lnTo>
                  <a:lnTo>
                    <a:pt x="251" y="290"/>
                  </a:lnTo>
                  <a:lnTo>
                    <a:pt x="259" y="295"/>
                  </a:lnTo>
                  <a:lnTo>
                    <a:pt x="267" y="298"/>
                  </a:lnTo>
                  <a:lnTo>
                    <a:pt x="277" y="301"/>
                  </a:lnTo>
                  <a:lnTo>
                    <a:pt x="285" y="302"/>
                  </a:lnTo>
                  <a:lnTo>
                    <a:pt x="293" y="301"/>
                  </a:lnTo>
                  <a:lnTo>
                    <a:pt x="300" y="299"/>
                  </a:lnTo>
                  <a:lnTo>
                    <a:pt x="307" y="297"/>
                  </a:lnTo>
                  <a:lnTo>
                    <a:pt x="313" y="294"/>
                  </a:lnTo>
                  <a:lnTo>
                    <a:pt x="318" y="291"/>
                  </a:lnTo>
                  <a:lnTo>
                    <a:pt x="325" y="287"/>
                  </a:lnTo>
                  <a:lnTo>
                    <a:pt x="329" y="282"/>
                  </a:lnTo>
                  <a:lnTo>
                    <a:pt x="333" y="277"/>
                  </a:lnTo>
                  <a:lnTo>
                    <a:pt x="451" y="324"/>
                  </a:lnTo>
                  <a:lnTo>
                    <a:pt x="451" y="327"/>
                  </a:lnTo>
                  <a:lnTo>
                    <a:pt x="451" y="332"/>
                  </a:lnTo>
                  <a:lnTo>
                    <a:pt x="451" y="337"/>
                  </a:lnTo>
                  <a:lnTo>
                    <a:pt x="452" y="343"/>
                  </a:lnTo>
                  <a:lnTo>
                    <a:pt x="454" y="349"/>
                  </a:lnTo>
                  <a:lnTo>
                    <a:pt x="456" y="354"/>
                  </a:lnTo>
                  <a:lnTo>
                    <a:pt x="458" y="360"/>
                  </a:lnTo>
                  <a:lnTo>
                    <a:pt x="461" y="365"/>
                  </a:lnTo>
                  <a:lnTo>
                    <a:pt x="464" y="369"/>
                  </a:lnTo>
                  <a:lnTo>
                    <a:pt x="469" y="374"/>
                  </a:lnTo>
                  <a:lnTo>
                    <a:pt x="473" y="378"/>
                  </a:lnTo>
                  <a:lnTo>
                    <a:pt x="477" y="381"/>
                  </a:lnTo>
                  <a:lnTo>
                    <a:pt x="482" y="384"/>
                  </a:lnTo>
                  <a:lnTo>
                    <a:pt x="488" y="386"/>
                  </a:lnTo>
                  <a:lnTo>
                    <a:pt x="493" y="389"/>
                  </a:lnTo>
                  <a:lnTo>
                    <a:pt x="499" y="391"/>
                  </a:lnTo>
                  <a:lnTo>
                    <a:pt x="505" y="391"/>
                  </a:lnTo>
                  <a:lnTo>
                    <a:pt x="511" y="392"/>
                  </a:lnTo>
                  <a:lnTo>
                    <a:pt x="518" y="391"/>
                  </a:lnTo>
                  <a:lnTo>
                    <a:pt x="523" y="391"/>
                  </a:lnTo>
                  <a:lnTo>
                    <a:pt x="529" y="389"/>
                  </a:lnTo>
                  <a:lnTo>
                    <a:pt x="535" y="386"/>
                  </a:lnTo>
                  <a:lnTo>
                    <a:pt x="540" y="384"/>
                  </a:lnTo>
                  <a:lnTo>
                    <a:pt x="545" y="381"/>
                  </a:lnTo>
                  <a:lnTo>
                    <a:pt x="550" y="378"/>
                  </a:lnTo>
                  <a:lnTo>
                    <a:pt x="553" y="374"/>
                  </a:lnTo>
                  <a:lnTo>
                    <a:pt x="558" y="369"/>
                  </a:lnTo>
                  <a:lnTo>
                    <a:pt x="561" y="365"/>
                  </a:lnTo>
                  <a:lnTo>
                    <a:pt x="564" y="360"/>
                  </a:lnTo>
                  <a:lnTo>
                    <a:pt x="567" y="354"/>
                  </a:lnTo>
                  <a:lnTo>
                    <a:pt x="568" y="349"/>
                  </a:lnTo>
                  <a:lnTo>
                    <a:pt x="570" y="343"/>
                  </a:lnTo>
                  <a:lnTo>
                    <a:pt x="571" y="337"/>
                  </a:lnTo>
                  <a:lnTo>
                    <a:pt x="571" y="332"/>
                  </a:lnTo>
                  <a:lnTo>
                    <a:pt x="570" y="322"/>
                  </a:lnTo>
                  <a:lnTo>
                    <a:pt x="568" y="312"/>
                  </a:lnTo>
                  <a:lnTo>
                    <a:pt x="565" y="304"/>
                  </a:lnTo>
                  <a:lnTo>
                    <a:pt x="560" y="296"/>
                  </a:lnTo>
                  <a:lnTo>
                    <a:pt x="711" y="114"/>
                  </a:lnTo>
                  <a:lnTo>
                    <a:pt x="717" y="117"/>
                  </a:lnTo>
                  <a:lnTo>
                    <a:pt x="724" y="119"/>
                  </a:lnTo>
                  <a:lnTo>
                    <a:pt x="730" y="120"/>
                  </a:lnTo>
                  <a:lnTo>
                    <a:pt x="737" y="120"/>
                  </a:lnTo>
                  <a:lnTo>
                    <a:pt x="743" y="120"/>
                  </a:lnTo>
                  <a:lnTo>
                    <a:pt x="750" y="119"/>
                  </a:lnTo>
                  <a:lnTo>
                    <a:pt x="755" y="118"/>
                  </a:lnTo>
                  <a:lnTo>
                    <a:pt x="760" y="116"/>
                  </a:lnTo>
                  <a:lnTo>
                    <a:pt x="766" y="113"/>
                  </a:lnTo>
                  <a:lnTo>
                    <a:pt x="771" y="110"/>
                  </a:lnTo>
                  <a:lnTo>
                    <a:pt x="775" y="106"/>
                  </a:lnTo>
                  <a:lnTo>
                    <a:pt x="780" y="103"/>
                  </a:lnTo>
                  <a:lnTo>
                    <a:pt x="784" y="99"/>
                  </a:lnTo>
                  <a:lnTo>
                    <a:pt x="787" y="94"/>
                  </a:lnTo>
                  <a:lnTo>
                    <a:pt x="790" y="89"/>
                  </a:lnTo>
                  <a:lnTo>
                    <a:pt x="792" y="84"/>
                  </a:lnTo>
                  <a:lnTo>
                    <a:pt x="795" y="79"/>
                  </a:lnTo>
                  <a:lnTo>
                    <a:pt x="796" y="72"/>
                  </a:lnTo>
                  <a:lnTo>
                    <a:pt x="797" y="67"/>
                  </a:lnTo>
                  <a:lnTo>
                    <a:pt x="797" y="60"/>
                  </a:lnTo>
                  <a:lnTo>
                    <a:pt x="797" y="54"/>
                  </a:lnTo>
                  <a:lnTo>
                    <a:pt x="796" y="48"/>
                  </a:lnTo>
                  <a:lnTo>
                    <a:pt x="795" y="42"/>
                  </a:lnTo>
                  <a:lnTo>
                    <a:pt x="792" y="37"/>
                  </a:lnTo>
                  <a:lnTo>
                    <a:pt x="790" y="31"/>
                  </a:lnTo>
                  <a:lnTo>
                    <a:pt x="787" y="27"/>
                  </a:lnTo>
                  <a:lnTo>
                    <a:pt x="784" y="22"/>
                  </a:lnTo>
                  <a:lnTo>
                    <a:pt x="780" y="17"/>
                  </a:lnTo>
                  <a:lnTo>
                    <a:pt x="775" y="14"/>
                  </a:lnTo>
                  <a:lnTo>
                    <a:pt x="771" y="10"/>
                  </a:lnTo>
                  <a:lnTo>
                    <a:pt x="766" y="8"/>
                  </a:lnTo>
                  <a:lnTo>
                    <a:pt x="760" y="5"/>
                  </a:lnTo>
                  <a:lnTo>
                    <a:pt x="755" y="2"/>
                  </a:lnTo>
                  <a:lnTo>
                    <a:pt x="750" y="1"/>
                  </a:lnTo>
                  <a:lnTo>
                    <a:pt x="743" y="0"/>
                  </a:lnTo>
                  <a:lnTo>
                    <a:pt x="737" y="0"/>
                  </a:lnTo>
                  <a:lnTo>
                    <a:pt x="731" y="0"/>
                  </a:lnTo>
                  <a:lnTo>
                    <a:pt x="725" y="1"/>
                  </a:lnTo>
                  <a:lnTo>
                    <a:pt x="719" y="2"/>
                  </a:lnTo>
                  <a:lnTo>
                    <a:pt x="713" y="5"/>
                  </a:lnTo>
                  <a:lnTo>
                    <a:pt x="709" y="8"/>
                  </a:lnTo>
                  <a:lnTo>
                    <a:pt x="703" y="10"/>
                  </a:lnTo>
                  <a:lnTo>
                    <a:pt x="699" y="14"/>
                  </a:lnTo>
                  <a:lnTo>
                    <a:pt x="695" y="17"/>
                  </a:lnTo>
                  <a:lnTo>
                    <a:pt x="691" y="22"/>
                  </a:lnTo>
                  <a:lnTo>
                    <a:pt x="687" y="27"/>
                  </a:lnTo>
                  <a:lnTo>
                    <a:pt x="684" y="31"/>
                  </a:lnTo>
                  <a:lnTo>
                    <a:pt x="682" y="37"/>
                  </a:lnTo>
                  <a:lnTo>
                    <a:pt x="680" y="42"/>
                  </a:lnTo>
                  <a:lnTo>
                    <a:pt x="678" y="48"/>
                  </a:lnTo>
                  <a:lnTo>
                    <a:pt x="677" y="54"/>
                  </a:lnTo>
                  <a:lnTo>
                    <a:pt x="677" y="60"/>
                  </a:lnTo>
                  <a:lnTo>
                    <a:pt x="678" y="70"/>
                  </a:lnTo>
                  <a:lnTo>
                    <a:pt x="680" y="79"/>
                  </a:lnTo>
                  <a:lnTo>
                    <a:pt x="683" y="87"/>
                  </a:lnTo>
                  <a:lnTo>
                    <a:pt x="688" y="96"/>
                  </a:lnTo>
                  <a:lnTo>
                    <a:pt x="537" y="277"/>
                  </a:lnTo>
                  <a:lnTo>
                    <a:pt x="531" y="275"/>
                  </a:lnTo>
                  <a:lnTo>
                    <a:pt x="524" y="273"/>
                  </a:lnTo>
                  <a:lnTo>
                    <a:pt x="518" y="272"/>
                  </a:lnTo>
                  <a:lnTo>
                    <a:pt x="511" y="271"/>
                  </a:lnTo>
                  <a:lnTo>
                    <a:pt x="504" y="272"/>
                  </a:lnTo>
                  <a:lnTo>
                    <a:pt x="496" y="273"/>
                  </a:lnTo>
                  <a:lnTo>
                    <a:pt x="490" y="275"/>
                  </a:lnTo>
                  <a:lnTo>
                    <a:pt x="484" y="278"/>
                  </a:lnTo>
                  <a:lnTo>
                    <a:pt x="478" y="281"/>
                  </a:lnTo>
                  <a:lnTo>
                    <a:pt x="472" y="286"/>
                  </a:lnTo>
                  <a:lnTo>
                    <a:pt x="467" y="291"/>
                  </a:lnTo>
                  <a:lnTo>
                    <a:pt x="463" y="295"/>
                  </a:lnTo>
                  <a:lnTo>
                    <a:pt x="345" y="248"/>
                  </a:lnTo>
                  <a:lnTo>
                    <a:pt x="345" y="245"/>
                  </a:lnTo>
                  <a:lnTo>
                    <a:pt x="345" y="240"/>
                  </a:lnTo>
                  <a:lnTo>
                    <a:pt x="345" y="235"/>
                  </a:lnTo>
                  <a:lnTo>
                    <a:pt x="344" y="229"/>
                  </a:lnTo>
                  <a:lnTo>
                    <a:pt x="343" y="223"/>
                  </a:lnTo>
                  <a:lnTo>
                    <a:pt x="341" y="218"/>
                  </a:lnTo>
                  <a:lnTo>
                    <a:pt x="339" y="213"/>
                  </a:lnTo>
                  <a:lnTo>
                    <a:pt x="336" y="207"/>
                  </a:lnTo>
                  <a:lnTo>
                    <a:pt x="332" y="203"/>
                  </a:lnTo>
                  <a:lnTo>
                    <a:pt x="328" y="199"/>
                  </a:lnTo>
                  <a:lnTo>
                    <a:pt x="324" y="194"/>
                  </a:lnTo>
                  <a:lnTo>
                    <a:pt x="319" y="191"/>
                  </a:lnTo>
                  <a:lnTo>
                    <a:pt x="314" y="188"/>
                  </a:lnTo>
                  <a:lnTo>
                    <a:pt x="309" y="186"/>
                  </a:lnTo>
                  <a:lnTo>
                    <a:pt x="303" y="184"/>
                  </a:lnTo>
                  <a:lnTo>
                    <a:pt x="298" y="181"/>
                  </a:lnTo>
                  <a:lnTo>
                    <a:pt x="292" y="181"/>
                  </a:lnTo>
                  <a:lnTo>
                    <a:pt x="285" y="180"/>
                  </a:lnTo>
                  <a:lnTo>
                    <a:pt x="280" y="181"/>
                  </a:lnTo>
                  <a:lnTo>
                    <a:pt x="273" y="181"/>
                  </a:lnTo>
                  <a:lnTo>
                    <a:pt x="268" y="184"/>
                  </a:lnTo>
                  <a:lnTo>
                    <a:pt x="262" y="186"/>
                  </a:lnTo>
                  <a:lnTo>
                    <a:pt x="257" y="188"/>
                  </a:lnTo>
                  <a:lnTo>
                    <a:pt x="252" y="191"/>
                  </a:lnTo>
                  <a:lnTo>
                    <a:pt x="248" y="194"/>
                  </a:lnTo>
                  <a:lnTo>
                    <a:pt x="243" y="199"/>
                  </a:lnTo>
                  <a:lnTo>
                    <a:pt x="239" y="203"/>
                  </a:lnTo>
                  <a:lnTo>
                    <a:pt x="236" y="207"/>
                  </a:lnTo>
                  <a:lnTo>
                    <a:pt x="233" y="213"/>
                  </a:lnTo>
                  <a:lnTo>
                    <a:pt x="230" y="218"/>
                  </a:lnTo>
                  <a:lnTo>
                    <a:pt x="228" y="223"/>
                  </a:lnTo>
                  <a:lnTo>
                    <a:pt x="226" y="229"/>
                  </a:lnTo>
                  <a:lnTo>
                    <a:pt x="225" y="235"/>
                  </a:lnTo>
                  <a:lnTo>
                    <a:pt x="225" y="240"/>
                  </a:lnTo>
                  <a:lnTo>
                    <a:pt x="226" y="248"/>
                  </a:lnTo>
                  <a:lnTo>
                    <a:pt x="227" y="254"/>
                  </a:lnTo>
                  <a:lnTo>
                    <a:pt x="229" y="261"/>
                  </a:lnTo>
                  <a:lnTo>
                    <a:pt x="231" y="267"/>
                  </a:lnTo>
                  <a:lnTo>
                    <a:pt x="94" y="387"/>
                  </a:lnTo>
                  <a:lnTo>
                    <a:pt x="86" y="382"/>
                  </a:lnTo>
                  <a:lnTo>
                    <a:pt x="78" y="379"/>
                  </a:lnTo>
                  <a:lnTo>
                    <a:pt x="68" y="377"/>
                  </a:lnTo>
                  <a:lnTo>
                    <a:pt x="60" y="377"/>
                  </a:lnTo>
                  <a:lnTo>
                    <a:pt x="53" y="377"/>
                  </a:lnTo>
                  <a:lnTo>
                    <a:pt x="47" y="378"/>
                  </a:lnTo>
                  <a:lnTo>
                    <a:pt x="42" y="379"/>
                  </a:lnTo>
                  <a:lnTo>
                    <a:pt x="36" y="381"/>
                  </a:lnTo>
                  <a:lnTo>
                    <a:pt x="31" y="383"/>
                  </a:lnTo>
                  <a:lnTo>
                    <a:pt x="26" y="386"/>
                  </a:lnTo>
                  <a:lnTo>
                    <a:pt x="21" y="391"/>
                  </a:lnTo>
                  <a:lnTo>
                    <a:pt x="17" y="394"/>
                  </a:lnTo>
                  <a:lnTo>
                    <a:pt x="13" y="398"/>
                  </a:lnTo>
                  <a:lnTo>
                    <a:pt x="9" y="402"/>
                  </a:lnTo>
                  <a:lnTo>
                    <a:pt x="6" y="408"/>
                  </a:lnTo>
                  <a:lnTo>
                    <a:pt x="4" y="413"/>
                  </a:lnTo>
                  <a:lnTo>
                    <a:pt x="2" y="419"/>
                  </a:lnTo>
                  <a:lnTo>
                    <a:pt x="1" y="425"/>
                  </a:lnTo>
                  <a:lnTo>
                    <a:pt x="0" y="430"/>
                  </a:lnTo>
                  <a:lnTo>
                    <a:pt x="0" y="437"/>
                  </a:lnTo>
                  <a:lnTo>
                    <a:pt x="0" y="443"/>
                  </a:lnTo>
                  <a:lnTo>
                    <a:pt x="1" y="449"/>
                  </a:lnTo>
                  <a:lnTo>
                    <a:pt x="2" y="455"/>
                  </a:lnTo>
                  <a:lnTo>
                    <a:pt x="4" y="460"/>
                  </a:lnTo>
                  <a:lnTo>
                    <a:pt x="6" y="466"/>
                  </a:lnTo>
                  <a:lnTo>
                    <a:pt x="9" y="470"/>
                  </a:lnTo>
                  <a:lnTo>
                    <a:pt x="13" y="475"/>
                  </a:lnTo>
                  <a:lnTo>
                    <a:pt x="17" y="480"/>
                  </a:lnTo>
                  <a:lnTo>
                    <a:pt x="21" y="483"/>
                  </a:lnTo>
                  <a:lnTo>
                    <a:pt x="26" y="486"/>
                  </a:lnTo>
                  <a:lnTo>
                    <a:pt x="31" y="489"/>
                  </a:lnTo>
                  <a:lnTo>
                    <a:pt x="36" y="493"/>
                  </a:lnTo>
                  <a:lnTo>
                    <a:pt x="42" y="494"/>
                  </a:lnTo>
                  <a:lnTo>
                    <a:pt x="47" y="496"/>
                  </a:lnTo>
                  <a:lnTo>
                    <a:pt x="53" y="497"/>
                  </a:lnTo>
                  <a:lnTo>
                    <a:pt x="60" y="4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21" name="Picture 2" descr="Cart, data, graph, information, pie, pie chart icon">
            <a:extLst>
              <a:ext uri="{FF2B5EF4-FFF2-40B4-BE49-F238E27FC236}">
                <a16:creationId xmlns:a16="http://schemas.microsoft.com/office/drawing/2014/main" id="{B22D1708-D97F-4C08-9423-ABE5BEDC69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1137" y="2258528"/>
            <a:ext cx="760574" cy="7605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1327044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AF32DBC-D1BB-ED23-5DC2-3C62E49B23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7A04EAB-374A-6495-F9B0-40AE28BFB9B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F8FCEAA-F11E-AB47-B2E6-220A21EF78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BC07F586-66C7-1A2D-96EB-94CD8875AF3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9" r="889"/>
          <a:stretch/>
        </p:blipFill>
        <p:spPr>
          <a:xfrm>
            <a:off x="-1" y="0"/>
            <a:ext cx="12192002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569F3A5C-BEC5-0888-2C9C-A62DBB083935}"/>
              </a:ext>
            </a:extLst>
          </p:cNvPr>
          <p:cNvSpPr/>
          <p:nvPr/>
        </p:nvSpPr>
        <p:spPr>
          <a:xfrm>
            <a:off x="533400" y="1524000"/>
            <a:ext cx="11658600" cy="4724400"/>
          </a:xfrm>
          <a:prstGeom prst="rect">
            <a:avLst/>
          </a:prstGeom>
          <a:gradFill>
            <a:gsLst>
              <a:gs pos="0">
                <a:schemeClr val="accent1">
                  <a:alpha val="82000"/>
                </a:schemeClr>
              </a:gs>
              <a:gs pos="100000">
                <a:schemeClr val="accent2">
                  <a:alpha val="73000"/>
                </a:scheme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B1E3750-8892-1B28-ACDF-695F8A9D7D50}"/>
              </a:ext>
            </a:extLst>
          </p:cNvPr>
          <p:cNvSpPr/>
          <p:nvPr/>
        </p:nvSpPr>
        <p:spPr>
          <a:xfrm>
            <a:off x="8285749" y="0"/>
            <a:ext cx="3372849" cy="6248400"/>
          </a:xfrm>
          <a:prstGeom prst="rect">
            <a:avLst/>
          </a:prstGeom>
          <a:gradFill>
            <a:gsLst>
              <a:gs pos="0">
                <a:schemeClr val="accent5"/>
              </a:gs>
              <a:gs pos="100000">
                <a:schemeClr val="accent4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031A0A50-DA35-F21F-8555-81EB19BEA55F}"/>
              </a:ext>
            </a:extLst>
          </p:cNvPr>
          <p:cNvSpPr txBox="1">
            <a:spLocks/>
          </p:cNvSpPr>
          <p:nvPr/>
        </p:nvSpPr>
        <p:spPr>
          <a:xfrm>
            <a:off x="863124" y="2465126"/>
            <a:ext cx="7004393" cy="182819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hnschrift" panose="020B0502040204020203" pitchFamily="34" charset="0"/>
                <a:ea typeface="+mj-ea"/>
                <a:cs typeface="Segoe UI" panose="020B0502040204020203" pitchFamily="34" charset="0"/>
              </a:rPr>
              <a:t>P4 Inventory</a:t>
            </a:r>
            <a:endParaRPr kumimoji="0" lang="en-US" sz="6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ahnschrift" panose="020B0502040204020203" pitchFamily="34" charset="0"/>
              <a:ea typeface="+mj-ea"/>
              <a:cs typeface="Segoe UI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hnschrift" panose="020B0502040204020203" pitchFamily="34" charset="0"/>
                <a:ea typeface="+mj-ea"/>
                <a:cs typeface="Segoe UI" panose="020B0502040204020203" pitchFamily="34" charset="0"/>
              </a:rPr>
              <a:t>BENCHMARKING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C26B60B-B0A4-3170-4D5B-952B2473E522}"/>
              </a:ext>
            </a:extLst>
          </p:cNvPr>
          <p:cNvCxnSpPr>
            <a:cxnSpLocks/>
          </p:cNvCxnSpPr>
          <p:nvPr/>
        </p:nvCxnSpPr>
        <p:spPr>
          <a:xfrm>
            <a:off x="1935083" y="4641106"/>
            <a:ext cx="376987" cy="0"/>
          </a:xfrm>
          <a:prstGeom prst="line">
            <a:avLst/>
          </a:prstGeom>
          <a:ln w="50800" cap="rnd">
            <a:solidFill>
              <a:schemeClr val="accent4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9D563A7B-068E-ABF0-F78E-3042A5BA4D21}"/>
              </a:ext>
            </a:extLst>
          </p:cNvPr>
          <p:cNvCxnSpPr>
            <a:cxnSpLocks/>
          </p:cNvCxnSpPr>
          <p:nvPr/>
        </p:nvCxnSpPr>
        <p:spPr>
          <a:xfrm>
            <a:off x="11658600" y="4641106"/>
            <a:ext cx="5334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5B67FF70-E72A-5066-EE8B-AD158B3417B6}"/>
              </a:ext>
            </a:extLst>
          </p:cNvPr>
          <p:cNvCxnSpPr>
            <a:cxnSpLocks/>
          </p:cNvCxnSpPr>
          <p:nvPr/>
        </p:nvCxnSpPr>
        <p:spPr>
          <a:xfrm>
            <a:off x="2641228" y="4641106"/>
            <a:ext cx="5644521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>
            <a:extLst>
              <a:ext uri="{FF2B5EF4-FFF2-40B4-BE49-F238E27FC236}">
                <a16:creationId xmlns:a16="http://schemas.microsoft.com/office/drawing/2014/main" id="{3BB9CF26-0257-5AF8-CFBC-351C09219754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93054" y="3833161"/>
            <a:ext cx="1219652" cy="1222562"/>
          </a:xfrm>
          <a:prstGeom prst="rect">
            <a:avLst/>
          </a:prstGeom>
          <a:effectLst>
            <a:outerShdw blurRad="787400" dist="114300" dir="7980000" sx="119000" sy="119000" algn="ctr" rotWithShape="0">
              <a:schemeClr val="bg1"/>
            </a:outerShdw>
          </a:effectLst>
        </p:spPr>
      </p:pic>
    </p:spTree>
    <p:extLst>
      <p:ext uri="{BB962C8B-B14F-4D97-AF65-F5344CB8AC3E}">
        <p14:creationId xmlns:p14="http://schemas.microsoft.com/office/powerpoint/2010/main" val="123022333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312A073-2E64-4525-A8A1-0172760C1973}"/>
              </a:ext>
            </a:extLst>
          </p:cNvPr>
          <p:cNvSpPr/>
          <p:nvPr/>
        </p:nvSpPr>
        <p:spPr>
          <a:xfrm>
            <a:off x="0" y="1905712"/>
            <a:ext cx="12103694" cy="380287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2072424-5D56-4214-9B0E-115C1E9D580C}"/>
              </a:ext>
            </a:extLst>
          </p:cNvPr>
          <p:cNvSpPr/>
          <p:nvPr/>
        </p:nvSpPr>
        <p:spPr>
          <a:xfrm>
            <a:off x="1166948" y="6448197"/>
            <a:ext cx="10013044" cy="181203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A4CCC08-A329-477A-B80B-2665F19C7039}"/>
              </a:ext>
            </a:extLst>
          </p:cNvPr>
          <p:cNvSpPr/>
          <p:nvPr/>
        </p:nvSpPr>
        <p:spPr>
          <a:xfrm>
            <a:off x="11267076" y="6448197"/>
            <a:ext cx="924923" cy="18120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E1CD0E2-CC0D-499F-9749-4EA83170CC35}"/>
              </a:ext>
            </a:extLst>
          </p:cNvPr>
          <p:cNvSpPr txBox="1"/>
          <p:nvPr/>
        </p:nvSpPr>
        <p:spPr>
          <a:xfrm>
            <a:off x="1011495" y="308041"/>
            <a:ext cx="7428796" cy="129266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4400" dirty="0">
                <a:solidFill>
                  <a:schemeClr val="tx1">
                    <a:lumMod val="65000"/>
                    <a:lumOff val="35000"/>
                  </a:schemeClr>
                </a:solidFill>
                <a:latin typeface="Bahnschrift" panose="020B0502040204020203" pitchFamily="34" charset="0"/>
                <a:cs typeface="Segoe UI Semibold" panose="020B0702040204020203" pitchFamily="34" charset="0"/>
              </a:rPr>
              <a:t>TEAM OVERVIEW</a:t>
            </a:r>
          </a:p>
          <a:p>
            <a:pPr algn="ctr"/>
            <a:r>
              <a:rPr lang="en-US" sz="4000" dirty="0">
                <a:solidFill>
                  <a:schemeClr val="accent4">
                    <a:lumMod val="75000"/>
                  </a:schemeClr>
                </a:solidFill>
                <a:latin typeface="Bahnschrift" panose="020B0502040204020203" pitchFamily="34" charset="0"/>
                <a:cs typeface="Segoe UI Semibold" panose="020B0702040204020203" pitchFamily="34" charset="0"/>
              </a:rPr>
              <a:t>The Analyst’ Desk</a:t>
            </a:r>
          </a:p>
        </p:txBody>
      </p:sp>
      <p:graphicFrame>
        <p:nvGraphicFramePr>
          <p:cNvPr id="67" name="Chart 66">
            <a:extLst>
              <a:ext uri="{FF2B5EF4-FFF2-40B4-BE49-F238E27FC236}">
                <a16:creationId xmlns:a16="http://schemas.microsoft.com/office/drawing/2014/main" id="{E4D9C660-107C-4AC7-916B-10D838F43C2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1202960"/>
              </p:ext>
            </p:extLst>
          </p:nvPr>
        </p:nvGraphicFramePr>
        <p:xfrm>
          <a:off x="88306" y="2040966"/>
          <a:ext cx="11764711" cy="35854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Oval 6">
            <a:extLst>
              <a:ext uri="{FF2B5EF4-FFF2-40B4-BE49-F238E27FC236}">
                <a16:creationId xmlns:a16="http://schemas.microsoft.com/office/drawing/2014/main" id="{F79B8CEC-F69E-4D64-98CF-8450FC7EBD5C}"/>
              </a:ext>
            </a:extLst>
          </p:cNvPr>
          <p:cNvSpPr/>
          <p:nvPr/>
        </p:nvSpPr>
        <p:spPr>
          <a:xfrm flipH="1">
            <a:off x="8321034" y="397616"/>
            <a:ext cx="287430" cy="287430"/>
          </a:xfrm>
          <a:prstGeom prst="ellipse">
            <a:avLst/>
          </a:prstGeom>
          <a:solidFill>
            <a:schemeClr val="tx1"/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66A8FF45-3B64-42A3-BA6E-75DEDCB0DE0C}"/>
              </a:ext>
            </a:extLst>
          </p:cNvPr>
          <p:cNvSpPr txBox="1"/>
          <p:nvPr/>
        </p:nvSpPr>
        <p:spPr>
          <a:xfrm>
            <a:off x="8790206" y="417901"/>
            <a:ext cx="314257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b="1" dirty="0"/>
              <a:t>AVG SKU COUNT</a:t>
            </a:r>
          </a:p>
        </p:txBody>
      </p:sp>
      <p:sp>
        <p:nvSpPr>
          <p:cNvPr id="73" name="Oval 72">
            <a:extLst>
              <a:ext uri="{FF2B5EF4-FFF2-40B4-BE49-F238E27FC236}">
                <a16:creationId xmlns:a16="http://schemas.microsoft.com/office/drawing/2014/main" id="{41EB1968-BB5A-42F9-9703-6D5DEF87D625}"/>
              </a:ext>
            </a:extLst>
          </p:cNvPr>
          <p:cNvSpPr/>
          <p:nvPr/>
        </p:nvSpPr>
        <p:spPr>
          <a:xfrm flipH="1">
            <a:off x="8334577" y="1157702"/>
            <a:ext cx="287430" cy="287430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0F0E4B47-C0F6-4C18-8BB2-6ADF9C9B7502}"/>
              </a:ext>
            </a:extLst>
          </p:cNvPr>
          <p:cNvSpPr txBox="1"/>
          <p:nvPr/>
        </p:nvSpPr>
        <p:spPr>
          <a:xfrm>
            <a:off x="8803749" y="1157702"/>
            <a:ext cx="251460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b="1" dirty="0">
                <a:solidFill>
                  <a:schemeClr val="accent4">
                    <a:lumMod val="75000"/>
                  </a:schemeClr>
                </a:solidFill>
              </a:rPr>
              <a:t>WEEKLY PURCHASE $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16D71225-67D9-4D2D-8C1D-31216784E68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899" y="5866267"/>
            <a:ext cx="830596" cy="855208"/>
          </a:xfrm>
          <a:prstGeom prst="rect">
            <a:avLst/>
          </a:prstGeom>
        </p:spPr>
      </p:pic>
      <p:sp>
        <p:nvSpPr>
          <p:cNvPr id="10" name="Oval 9">
            <a:extLst>
              <a:ext uri="{FF2B5EF4-FFF2-40B4-BE49-F238E27FC236}">
                <a16:creationId xmlns:a16="http://schemas.microsoft.com/office/drawing/2014/main" id="{9C4122A2-F763-49C2-8A08-316C6329CACC}"/>
              </a:ext>
            </a:extLst>
          </p:cNvPr>
          <p:cNvSpPr/>
          <p:nvPr/>
        </p:nvSpPr>
        <p:spPr>
          <a:xfrm flipH="1">
            <a:off x="8334577" y="787408"/>
            <a:ext cx="287430" cy="287430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F521EB7-6FF8-4BAB-9EFF-A144486BBF73}"/>
              </a:ext>
            </a:extLst>
          </p:cNvPr>
          <p:cNvSpPr txBox="1"/>
          <p:nvPr/>
        </p:nvSpPr>
        <p:spPr>
          <a:xfrm>
            <a:off x="8791638" y="808012"/>
            <a:ext cx="282209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b="1" dirty="0">
                <a:solidFill>
                  <a:schemeClr val="accent5">
                    <a:lumMod val="50000"/>
                  </a:schemeClr>
                </a:solidFill>
              </a:rPr>
              <a:t># SUPPLIER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54B99CE-87C5-4742-8174-92D68B4D6328}"/>
              </a:ext>
            </a:extLst>
          </p:cNvPr>
          <p:cNvSpPr/>
          <p:nvPr/>
        </p:nvSpPr>
        <p:spPr>
          <a:xfrm>
            <a:off x="338984" y="0"/>
            <a:ext cx="1207805" cy="1577589"/>
          </a:xfrm>
          <a:prstGeom prst="rect">
            <a:avLst/>
          </a:prstGeom>
          <a:solidFill>
            <a:schemeClr val="accent5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8947195-9BA8-4834-B996-A44869A74D4F}"/>
              </a:ext>
            </a:extLst>
          </p:cNvPr>
          <p:cNvSpPr txBox="1"/>
          <p:nvPr/>
        </p:nvSpPr>
        <p:spPr>
          <a:xfrm>
            <a:off x="18815" y="86259"/>
            <a:ext cx="1848142" cy="123110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80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hnschrift" panose="020B0502040204020203" pitchFamily="34" charset="0"/>
                <a:cs typeface="Segoe UI Semibold" panose="020B0702040204020203" pitchFamily="34" charset="0"/>
              </a:rPr>
              <a:t>B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A006236-3A8D-42DC-B055-FD693A7066F2}"/>
              </a:ext>
            </a:extLst>
          </p:cNvPr>
          <p:cNvSpPr txBox="1"/>
          <p:nvPr/>
        </p:nvSpPr>
        <p:spPr>
          <a:xfrm>
            <a:off x="180898" y="1313272"/>
            <a:ext cx="1528261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+mj-lt"/>
                <a:cs typeface="Segoe UI Semibold" panose="020B0702040204020203" pitchFamily="34" charset="0"/>
              </a:rPr>
              <a:t>BENCHMARK</a:t>
            </a: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CE001A62-1ADF-41FE-A6D2-4A7B0B760E6B}"/>
              </a:ext>
            </a:extLst>
          </p:cNvPr>
          <p:cNvSpPr/>
          <p:nvPr/>
        </p:nvSpPr>
        <p:spPr>
          <a:xfrm flipH="1">
            <a:off x="8334577" y="1534698"/>
            <a:ext cx="287430" cy="28743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C55955B-F997-4C38-93C0-530EDAC9CDD8}"/>
              </a:ext>
            </a:extLst>
          </p:cNvPr>
          <p:cNvSpPr txBox="1"/>
          <p:nvPr/>
        </p:nvSpPr>
        <p:spPr>
          <a:xfrm>
            <a:off x="8803749" y="1555302"/>
            <a:ext cx="251460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b="1" dirty="0">
                <a:solidFill>
                  <a:schemeClr val="bg1">
                    <a:lumMod val="50000"/>
                  </a:schemeClr>
                </a:solidFill>
              </a:rPr>
              <a:t>WEEKLY # of POs</a:t>
            </a:r>
          </a:p>
        </p:txBody>
      </p:sp>
    </p:spTree>
    <p:extLst>
      <p:ext uri="{BB962C8B-B14F-4D97-AF65-F5344CB8AC3E}">
        <p14:creationId xmlns:p14="http://schemas.microsoft.com/office/powerpoint/2010/main" val="312093412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312A073-2E64-4525-A8A1-0172760C1973}"/>
              </a:ext>
            </a:extLst>
          </p:cNvPr>
          <p:cNvSpPr/>
          <p:nvPr/>
        </p:nvSpPr>
        <p:spPr>
          <a:xfrm>
            <a:off x="0" y="1905712"/>
            <a:ext cx="12103694" cy="380287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2072424-5D56-4214-9B0E-115C1E9D580C}"/>
              </a:ext>
            </a:extLst>
          </p:cNvPr>
          <p:cNvSpPr/>
          <p:nvPr/>
        </p:nvSpPr>
        <p:spPr>
          <a:xfrm>
            <a:off x="1166948" y="6448197"/>
            <a:ext cx="10013044" cy="181203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A4CCC08-A329-477A-B80B-2665F19C7039}"/>
              </a:ext>
            </a:extLst>
          </p:cNvPr>
          <p:cNvSpPr/>
          <p:nvPr/>
        </p:nvSpPr>
        <p:spPr>
          <a:xfrm>
            <a:off x="11267076" y="6448197"/>
            <a:ext cx="924923" cy="18120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E1CD0E2-CC0D-499F-9749-4EA83170CC35}"/>
              </a:ext>
            </a:extLst>
          </p:cNvPr>
          <p:cNvSpPr txBox="1"/>
          <p:nvPr/>
        </p:nvSpPr>
        <p:spPr>
          <a:xfrm>
            <a:off x="1011495" y="308041"/>
            <a:ext cx="7428796" cy="129266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4400" dirty="0">
                <a:solidFill>
                  <a:schemeClr val="tx1">
                    <a:lumMod val="65000"/>
                    <a:lumOff val="35000"/>
                  </a:schemeClr>
                </a:solidFill>
                <a:latin typeface="Bahnschrift" panose="020B0502040204020203" pitchFamily="34" charset="0"/>
                <a:cs typeface="Segoe UI Semibold" panose="020B0702040204020203" pitchFamily="34" charset="0"/>
              </a:rPr>
              <a:t>TEAM OVERVIEW</a:t>
            </a:r>
          </a:p>
          <a:p>
            <a:pPr algn="ctr"/>
            <a:r>
              <a:rPr lang="en-US" sz="4000" dirty="0">
                <a:solidFill>
                  <a:schemeClr val="accent4">
                    <a:lumMod val="75000"/>
                  </a:schemeClr>
                </a:solidFill>
                <a:latin typeface="Bahnschrift" panose="020B0502040204020203" pitchFamily="34" charset="0"/>
                <a:cs typeface="Segoe UI Semibold" panose="020B0702040204020203" pitchFamily="34" charset="0"/>
              </a:rPr>
              <a:t>Team Structure</a:t>
            </a:r>
          </a:p>
        </p:txBody>
      </p:sp>
      <p:graphicFrame>
        <p:nvGraphicFramePr>
          <p:cNvPr id="67" name="Chart 66">
            <a:extLst>
              <a:ext uri="{FF2B5EF4-FFF2-40B4-BE49-F238E27FC236}">
                <a16:creationId xmlns:a16="http://schemas.microsoft.com/office/drawing/2014/main" id="{E4D9C660-107C-4AC7-916B-10D838F43C2C}"/>
              </a:ext>
            </a:extLst>
          </p:cNvPr>
          <p:cNvGraphicFramePr/>
          <p:nvPr/>
        </p:nvGraphicFramePr>
        <p:xfrm>
          <a:off x="88306" y="2040966"/>
          <a:ext cx="11764711" cy="35854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Oval 6">
            <a:extLst>
              <a:ext uri="{FF2B5EF4-FFF2-40B4-BE49-F238E27FC236}">
                <a16:creationId xmlns:a16="http://schemas.microsoft.com/office/drawing/2014/main" id="{F79B8CEC-F69E-4D64-98CF-8450FC7EBD5C}"/>
              </a:ext>
            </a:extLst>
          </p:cNvPr>
          <p:cNvSpPr/>
          <p:nvPr/>
        </p:nvSpPr>
        <p:spPr>
          <a:xfrm flipH="1">
            <a:off x="8261211" y="397616"/>
            <a:ext cx="287430" cy="287430"/>
          </a:xfrm>
          <a:prstGeom prst="ellipse">
            <a:avLst/>
          </a:prstGeom>
          <a:solidFill>
            <a:schemeClr val="tx1"/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66A8FF45-3B64-42A3-BA6E-75DEDCB0DE0C}"/>
              </a:ext>
            </a:extLst>
          </p:cNvPr>
          <p:cNvSpPr txBox="1"/>
          <p:nvPr/>
        </p:nvSpPr>
        <p:spPr>
          <a:xfrm>
            <a:off x="8730383" y="417901"/>
            <a:ext cx="3142574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b="1" dirty="0"/>
              <a:t>TOTAL TEAM SIZE</a:t>
            </a:r>
          </a:p>
        </p:txBody>
      </p:sp>
      <p:sp>
        <p:nvSpPr>
          <p:cNvPr id="73" name="Oval 72">
            <a:extLst>
              <a:ext uri="{FF2B5EF4-FFF2-40B4-BE49-F238E27FC236}">
                <a16:creationId xmlns:a16="http://schemas.microsoft.com/office/drawing/2014/main" id="{41EB1968-BB5A-42F9-9703-6D5DEF87D625}"/>
              </a:ext>
            </a:extLst>
          </p:cNvPr>
          <p:cNvSpPr/>
          <p:nvPr/>
        </p:nvSpPr>
        <p:spPr>
          <a:xfrm flipH="1">
            <a:off x="8274754" y="1157702"/>
            <a:ext cx="287430" cy="287430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0F0E4B47-C0F6-4C18-8BB2-6ADF9C9B7502}"/>
              </a:ext>
            </a:extLst>
          </p:cNvPr>
          <p:cNvSpPr txBox="1"/>
          <p:nvPr/>
        </p:nvSpPr>
        <p:spPr>
          <a:xfrm>
            <a:off x="8743926" y="1157702"/>
            <a:ext cx="328000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b="1" dirty="0">
                <a:solidFill>
                  <a:schemeClr val="accent4">
                    <a:lumMod val="75000"/>
                  </a:schemeClr>
                </a:solidFill>
              </a:rPr>
              <a:t># of LEADERS / CHAMPIONS / MGRs 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16D71225-67D9-4D2D-8C1D-31216784E68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899" y="5866267"/>
            <a:ext cx="830596" cy="855208"/>
          </a:xfrm>
          <a:prstGeom prst="rect">
            <a:avLst/>
          </a:prstGeom>
        </p:spPr>
      </p:pic>
      <p:sp>
        <p:nvSpPr>
          <p:cNvPr id="10" name="Oval 9">
            <a:extLst>
              <a:ext uri="{FF2B5EF4-FFF2-40B4-BE49-F238E27FC236}">
                <a16:creationId xmlns:a16="http://schemas.microsoft.com/office/drawing/2014/main" id="{9C4122A2-F763-49C2-8A08-316C6329CACC}"/>
              </a:ext>
            </a:extLst>
          </p:cNvPr>
          <p:cNvSpPr/>
          <p:nvPr/>
        </p:nvSpPr>
        <p:spPr>
          <a:xfrm flipH="1">
            <a:off x="8274754" y="787408"/>
            <a:ext cx="287430" cy="287430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F521EB7-6FF8-4BAB-9EFF-A144486BBF73}"/>
              </a:ext>
            </a:extLst>
          </p:cNvPr>
          <p:cNvSpPr txBox="1"/>
          <p:nvPr/>
        </p:nvSpPr>
        <p:spPr>
          <a:xfrm>
            <a:off x="8731815" y="808012"/>
            <a:ext cx="2822098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b="1" dirty="0">
                <a:solidFill>
                  <a:schemeClr val="accent5">
                    <a:lumMod val="50000"/>
                  </a:schemeClr>
                </a:solidFill>
              </a:rPr>
              <a:t># of ANALYST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31511BD-4857-4CC0-9F14-8178AF3710B1}"/>
              </a:ext>
            </a:extLst>
          </p:cNvPr>
          <p:cNvSpPr/>
          <p:nvPr/>
        </p:nvSpPr>
        <p:spPr>
          <a:xfrm>
            <a:off x="2845750" y="5426579"/>
            <a:ext cx="940037" cy="199877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54B99CE-87C5-4742-8174-92D68B4D6328}"/>
              </a:ext>
            </a:extLst>
          </p:cNvPr>
          <p:cNvSpPr/>
          <p:nvPr/>
        </p:nvSpPr>
        <p:spPr>
          <a:xfrm>
            <a:off x="338984" y="0"/>
            <a:ext cx="1207805" cy="1577589"/>
          </a:xfrm>
          <a:prstGeom prst="rect">
            <a:avLst/>
          </a:prstGeom>
          <a:solidFill>
            <a:schemeClr val="accent5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8947195-9BA8-4834-B996-A44869A74D4F}"/>
              </a:ext>
            </a:extLst>
          </p:cNvPr>
          <p:cNvSpPr txBox="1"/>
          <p:nvPr/>
        </p:nvSpPr>
        <p:spPr>
          <a:xfrm>
            <a:off x="18815" y="86259"/>
            <a:ext cx="1848142" cy="123110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8000" dirty="0">
                <a:solidFill>
                  <a:schemeClr val="bg1"/>
                </a:solidFill>
                <a:latin typeface="Bahnschrift" panose="020B0502040204020203" pitchFamily="34" charset="0"/>
                <a:cs typeface="Segoe UI Semibold" panose="020B0702040204020203" pitchFamily="34" charset="0"/>
              </a:rPr>
              <a:t>B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A006236-3A8D-42DC-B055-FD693A7066F2}"/>
              </a:ext>
            </a:extLst>
          </p:cNvPr>
          <p:cNvSpPr txBox="1"/>
          <p:nvPr/>
        </p:nvSpPr>
        <p:spPr>
          <a:xfrm>
            <a:off x="180898" y="1313272"/>
            <a:ext cx="1528261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  <a:latin typeface="+mj-lt"/>
                <a:cs typeface="Segoe UI Semibold" panose="020B0702040204020203" pitchFamily="34" charset="0"/>
              </a:rPr>
              <a:t>BENCHMARK</a:t>
            </a: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CE001A62-1ADF-41FE-A6D2-4A7B0B760E6B}"/>
              </a:ext>
            </a:extLst>
          </p:cNvPr>
          <p:cNvSpPr/>
          <p:nvPr/>
        </p:nvSpPr>
        <p:spPr>
          <a:xfrm flipH="1">
            <a:off x="8274754" y="1534698"/>
            <a:ext cx="287430" cy="28743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C55955B-F997-4C38-93C0-530EDAC9CDD8}"/>
              </a:ext>
            </a:extLst>
          </p:cNvPr>
          <p:cNvSpPr txBox="1"/>
          <p:nvPr/>
        </p:nvSpPr>
        <p:spPr>
          <a:xfrm>
            <a:off x="8743926" y="1555302"/>
            <a:ext cx="25146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b="1" dirty="0">
                <a:solidFill>
                  <a:schemeClr val="bg1">
                    <a:lumMod val="50000"/>
                  </a:schemeClr>
                </a:solidFill>
              </a:rPr>
              <a:t># SUPPORT PLAYERS</a:t>
            </a:r>
          </a:p>
        </p:txBody>
      </p:sp>
    </p:spTree>
    <p:extLst>
      <p:ext uri="{BB962C8B-B14F-4D97-AF65-F5344CB8AC3E}">
        <p14:creationId xmlns:p14="http://schemas.microsoft.com/office/powerpoint/2010/main" val="251320542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312A073-2E64-4525-A8A1-0172760C1973}"/>
              </a:ext>
            </a:extLst>
          </p:cNvPr>
          <p:cNvSpPr/>
          <p:nvPr/>
        </p:nvSpPr>
        <p:spPr>
          <a:xfrm>
            <a:off x="0" y="1905712"/>
            <a:ext cx="12103694" cy="380287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2072424-5D56-4214-9B0E-115C1E9D580C}"/>
              </a:ext>
            </a:extLst>
          </p:cNvPr>
          <p:cNvSpPr/>
          <p:nvPr/>
        </p:nvSpPr>
        <p:spPr>
          <a:xfrm>
            <a:off x="1166948" y="6448197"/>
            <a:ext cx="10013044" cy="181203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A4CCC08-A329-477A-B80B-2665F19C7039}"/>
              </a:ext>
            </a:extLst>
          </p:cNvPr>
          <p:cNvSpPr/>
          <p:nvPr/>
        </p:nvSpPr>
        <p:spPr>
          <a:xfrm>
            <a:off x="11267076" y="6448197"/>
            <a:ext cx="924923" cy="18120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E1CD0E2-CC0D-499F-9749-4EA83170CC35}"/>
              </a:ext>
            </a:extLst>
          </p:cNvPr>
          <p:cNvSpPr txBox="1"/>
          <p:nvPr/>
        </p:nvSpPr>
        <p:spPr>
          <a:xfrm>
            <a:off x="1011495" y="308041"/>
            <a:ext cx="7428796" cy="129266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4400" dirty="0">
                <a:solidFill>
                  <a:schemeClr val="tx1">
                    <a:lumMod val="65000"/>
                    <a:lumOff val="35000"/>
                  </a:schemeClr>
                </a:solidFill>
                <a:latin typeface="Bahnschrift" panose="020B0502040204020203" pitchFamily="34" charset="0"/>
                <a:cs typeface="Segoe UI Semibold" panose="020B0702040204020203" pitchFamily="34" charset="0"/>
              </a:rPr>
              <a:t>TEAM OVERVIEW</a:t>
            </a:r>
          </a:p>
          <a:p>
            <a:pPr algn="ctr"/>
            <a:r>
              <a:rPr lang="en-US" sz="4000" dirty="0">
                <a:solidFill>
                  <a:schemeClr val="accent4">
                    <a:lumMod val="75000"/>
                  </a:schemeClr>
                </a:solidFill>
                <a:latin typeface="Bahnschrift" panose="020B0502040204020203" pitchFamily="34" charset="0"/>
                <a:cs typeface="Segoe UI Semibold" panose="020B0702040204020203" pitchFamily="34" charset="0"/>
              </a:rPr>
              <a:t>Analysts’ Time Investment</a:t>
            </a:r>
          </a:p>
        </p:txBody>
      </p:sp>
      <p:graphicFrame>
        <p:nvGraphicFramePr>
          <p:cNvPr id="67" name="Chart 66">
            <a:extLst>
              <a:ext uri="{FF2B5EF4-FFF2-40B4-BE49-F238E27FC236}">
                <a16:creationId xmlns:a16="http://schemas.microsoft.com/office/drawing/2014/main" id="{E4D9C660-107C-4AC7-916B-10D838F43C2C}"/>
              </a:ext>
            </a:extLst>
          </p:cNvPr>
          <p:cNvGraphicFramePr/>
          <p:nvPr/>
        </p:nvGraphicFramePr>
        <p:xfrm>
          <a:off x="88306" y="2040966"/>
          <a:ext cx="11764711" cy="35854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Oval 6">
            <a:extLst>
              <a:ext uri="{FF2B5EF4-FFF2-40B4-BE49-F238E27FC236}">
                <a16:creationId xmlns:a16="http://schemas.microsoft.com/office/drawing/2014/main" id="{F79B8CEC-F69E-4D64-98CF-8450FC7EBD5C}"/>
              </a:ext>
            </a:extLst>
          </p:cNvPr>
          <p:cNvSpPr/>
          <p:nvPr/>
        </p:nvSpPr>
        <p:spPr>
          <a:xfrm flipH="1">
            <a:off x="8261211" y="397616"/>
            <a:ext cx="287430" cy="287430"/>
          </a:xfrm>
          <a:prstGeom prst="ellipse">
            <a:avLst/>
          </a:prstGeom>
          <a:solidFill>
            <a:schemeClr val="tx1"/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66A8FF45-3B64-42A3-BA6E-75DEDCB0DE0C}"/>
              </a:ext>
            </a:extLst>
          </p:cNvPr>
          <p:cNvSpPr txBox="1"/>
          <p:nvPr/>
        </p:nvSpPr>
        <p:spPr>
          <a:xfrm>
            <a:off x="8730383" y="417901"/>
            <a:ext cx="3142574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b="1" dirty="0"/>
              <a:t>BUILDING / PLACING ORDERS</a:t>
            </a:r>
          </a:p>
        </p:txBody>
      </p:sp>
      <p:sp>
        <p:nvSpPr>
          <p:cNvPr id="73" name="Oval 72">
            <a:extLst>
              <a:ext uri="{FF2B5EF4-FFF2-40B4-BE49-F238E27FC236}">
                <a16:creationId xmlns:a16="http://schemas.microsoft.com/office/drawing/2014/main" id="{41EB1968-BB5A-42F9-9703-6D5DEF87D625}"/>
              </a:ext>
            </a:extLst>
          </p:cNvPr>
          <p:cNvSpPr/>
          <p:nvPr/>
        </p:nvSpPr>
        <p:spPr>
          <a:xfrm flipH="1">
            <a:off x="8274754" y="1157702"/>
            <a:ext cx="287430" cy="287430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0F0E4B47-C0F6-4C18-8BB2-6ADF9C9B7502}"/>
              </a:ext>
            </a:extLst>
          </p:cNvPr>
          <p:cNvSpPr txBox="1"/>
          <p:nvPr/>
        </p:nvSpPr>
        <p:spPr>
          <a:xfrm>
            <a:off x="8743926" y="1157702"/>
            <a:ext cx="328000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b="1" dirty="0">
                <a:solidFill>
                  <a:schemeClr val="accent4">
                    <a:lumMod val="75000"/>
                  </a:schemeClr>
                </a:solidFill>
              </a:rPr>
              <a:t>RESPONDING TO REQUESTS/NEEDS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16D71225-67D9-4D2D-8C1D-31216784E68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899" y="5866267"/>
            <a:ext cx="830596" cy="855208"/>
          </a:xfrm>
          <a:prstGeom prst="rect">
            <a:avLst/>
          </a:prstGeom>
        </p:spPr>
      </p:pic>
      <p:sp>
        <p:nvSpPr>
          <p:cNvPr id="10" name="Oval 9">
            <a:extLst>
              <a:ext uri="{FF2B5EF4-FFF2-40B4-BE49-F238E27FC236}">
                <a16:creationId xmlns:a16="http://schemas.microsoft.com/office/drawing/2014/main" id="{9C4122A2-F763-49C2-8A08-316C6329CACC}"/>
              </a:ext>
            </a:extLst>
          </p:cNvPr>
          <p:cNvSpPr/>
          <p:nvPr/>
        </p:nvSpPr>
        <p:spPr>
          <a:xfrm flipH="1">
            <a:off x="8274754" y="787408"/>
            <a:ext cx="287430" cy="287430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F521EB7-6FF8-4BAB-9EFF-A144486BBF73}"/>
              </a:ext>
            </a:extLst>
          </p:cNvPr>
          <p:cNvSpPr txBox="1"/>
          <p:nvPr/>
        </p:nvSpPr>
        <p:spPr>
          <a:xfrm>
            <a:off x="8731815" y="808012"/>
            <a:ext cx="314114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b="1" dirty="0">
                <a:solidFill>
                  <a:schemeClr val="accent5">
                    <a:lumMod val="50000"/>
                  </a:schemeClr>
                </a:solidFill>
              </a:rPr>
              <a:t>FINE-TUNING SYSTEM SETTING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31511BD-4857-4CC0-9F14-8178AF3710B1}"/>
              </a:ext>
            </a:extLst>
          </p:cNvPr>
          <p:cNvSpPr/>
          <p:nvPr/>
        </p:nvSpPr>
        <p:spPr>
          <a:xfrm>
            <a:off x="2845750" y="5426579"/>
            <a:ext cx="940037" cy="199877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54B99CE-87C5-4742-8174-92D68B4D6328}"/>
              </a:ext>
            </a:extLst>
          </p:cNvPr>
          <p:cNvSpPr/>
          <p:nvPr/>
        </p:nvSpPr>
        <p:spPr>
          <a:xfrm>
            <a:off x="338984" y="0"/>
            <a:ext cx="1207805" cy="1577589"/>
          </a:xfrm>
          <a:prstGeom prst="rect">
            <a:avLst/>
          </a:prstGeom>
          <a:solidFill>
            <a:schemeClr val="accent5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8947195-9BA8-4834-B996-A44869A74D4F}"/>
              </a:ext>
            </a:extLst>
          </p:cNvPr>
          <p:cNvSpPr txBox="1"/>
          <p:nvPr/>
        </p:nvSpPr>
        <p:spPr>
          <a:xfrm>
            <a:off x="18815" y="86259"/>
            <a:ext cx="1848142" cy="123110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8000" dirty="0">
                <a:solidFill>
                  <a:schemeClr val="bg1"/>
                </a:solidFill>
                <a:latin typeface="Bahnschrift" panose="020B0502040204020203" pitchFamily="34" charset="0"/>
                <a:cs typeface="Segoe UI Semibold" panose="020B0702040204020203" pitchFamily="34" charset="0"/>
              </a:rPr>
              <a:t>B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A006236-3A8D-42DC-B055-FD693A7066F2}"/>
              </a:ext>
            </a:extLst>
          </p:cNvPr>
          <p:cNvSpPr txBox="1"/>
          <p:nvPr/>
        </p:nvSpPr>
        <p:spPr>
          <a:xfrm>
            <a:off x="180898" y="1313272"/>
            <a:ext cx="1528261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  <a:latin typeface="+mj-lt"/>
                <a:cs typeface="Segoe UI Semibold" panose="020B0702040204020203" pitchFamily="34" charset="0"/>
              </a:rPr>
              <a:t>BENCHMARK</a:t>
            </a: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CE001A62-1ADF-41FE-A6D2-4A7B0B760E6B}"/>
              </a:ext>
            </a:extLst>
          </p:cNvPr>
          <p:cNvSpPr/>
          <p:nvPr/>
        </p:nvSpPr>
        <p:spPr>
          <a:xfrm flipH="1">
            <a:off x="8274754" y="1534698"/>
            <a:ext cx="287430" cy="28743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C55955B-F997-4C38-93C0-530EDAC9CDD8}"/>
              </a:ext>
            </a:extLst>
          </p:cNvPr>
          <p:cNvSpPr txBox="1"/>
          <p:nvPr/>
        </p:nvSpPr>
        <p:spPr>
          <a:xfrm>
            <a:off x="8743926" y="1555302"/>
            <a:ext cx="25146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b="1" dirty="0">
                <a:solidFill>
                  <a:schemeClr val="bg1">
                    <a:lumMod val="50000"/>
                  </a:schemeClr>
                </a:solidFill>
              </a:rPr>
              <a:t>MEETINGS</a:t>
            </a:r>
          </a:p>
        </p:txBody>
      </p:sp>
    </p:spTree>
    <p:extLst>
      <p:ext uri="{BB962C8B-B14F-4D97-AF65-F5344CB8AC3E}">
        <p14:creationId xmlns:p14="http://schemas.microsoft.com/office/powerpoint/2010/main" val="203234006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312A073-2E64-4525-A8A1-0172760C1973}"/>
              </a:ext>
            </a:extLst>
          </p:cNvPr>
          <p:cNvSpPr/>
          <p:nvPr/>
        </p:nvSpPr>
        <p:spPr>
          <a:xfrm>
            <a:off x="0" y="1905712"/>
            <a:ext cx="12103694" cy="380287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2072424-5D56-4214-9B0E-115C1E9D580C}"/>
              </a:ext>
            </a:extLst>
          </p:cNvPr>
          <p:cNvSpPr/>
          <p:nvPr/>
        </p:nvSpPr>
        <p:spPr>
          <a:xfrm>
            <a:off x="1166948" y="6448197"/>
            <a:ext cx="10013044" cy="181203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A4CCC08-A329-477A-B80B-2665F19C7039}"/>
              </a:ext>
            </a:extLst>
          </p:cNvPr>
          <p:cNvSpPr/>
          <p:nvPr/>
        </p:nvSpPr>
        <p:spPr>
          <a:xfrm>
            <a:off x="11267076" y="6448197"/>
            <a:ext cx="924923" cy="18120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E1CD0E2-CC0D-499F-9749-4EA83170CC35}"/>
              </a:ext>
            </a:extLst>
          </p:cNvPr>
          <p:cNvSpPr txBox="1"/>
          <p:nvPr/>
        </p:nvSpPr>
        <p:spPr>
          <a:xfrm>
            <a:off x="1011495" y="308041"/>
            <a:ext cx="7428796" cy="129266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4400" dirty="0">
                <a:solidFill>
                  <a:schemeClr val="tx1">
                    <a:lumMod val="65000"/>
                    <a:lumOff val="35000"/>
                  </a:schemeClr>
                </a:solidFill>
                <a:latin typeface="Bahnschrift" panose="020B0502040204020203" pitchFamily="34" charset="0"/>
                <a:cs typeface="Segoe UI Semibold" panose="020B0702040204020203" pitchFamily="34" charset="0"/>
              </a:rPr>
              <a:t>TEAM OVERVIEW</a:t>
            </a:r>
          </a:p>
          <a:p>
            <a:pPr algn="ctr"/>
            <a:r>
              <a:rPr lang="en-US" sz="4000" dirty="0">
                <a:solidFill>
                  <a:schemeClr val="accent4">
                    <a:lumMod val="75000"/>
                  </a:schemeClr>
                </a:solidFill>
                <a:latin typeface="Bahnschrift" panose="020B0502040204020203" pitchFamily="34" charset="0"/>
                <a:cs typeface="Segoe UI Semibold" panose="020B0702040204020203" pitchFamily="34" charset="0"/>
              </a:rPr>
              <a:t>Source of Talent</a:t>
            </a:r>
          </a:p>
        </p:txBody>
      </p:sp>
      <p:graphicFrame>
        <p:nvGraphicFramePr>
          <p:cNvPr id="67" name="Chart 66">
            <a:extLst>
              <a:ext uri="{FF2B5EF4-FFF2-40B4-BE49-F238E27FC236}">
                <a16:creationId xmlns:a16="http://schemas.microsoft.com/office/drawing/2014/main" id="{E4D9C660-107C-4AC7-916B-10D838F43C2C}"/>
              </a:ext>
            </a:extLst>
          </p:cNvPr>
          <p:cNvGraphicFramePr/>
          <p:nvPr/>
        </p:nvGraphicFramePr>
        <p:xfrm>
          <a:off x="88306" y="2040966"/>
          <a:ext cx="11764711" cy="35854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Oval 6">
            <a:extLst>
              <a:ext uri="{FF2B5EF4-FFF2-40B4-BE49-F238E27FC236}">
                <a16:creationId xmlns:a16="http://schemas.microsoft.com/office/drawing/2014/main" id="{F79B8CEC-F69E-4D64-98CF-8450FC7EBD5C}"/>
              </a:ext>
            </a:extLst>
          </p:cNvPr>
          <p:cNvSpPr/>
          <p:nvPr/>
        </p:nvSpPr>
        <p:spPr>
          <a:xfrm flipH="1">
            <a:off x="8261211" y="397616"/>
            <a:ext cx="287430" cy="287430"/>
          </a:xfrm>
          <a:prstGeom prst="ellipse">
            <a:avLst/>
          </a:prstGeom>
          <a:solidFill>
            <a:schemeClr val="tx1"/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66A8FF45-3B64-42A3-BA6E-75DEDCB0DE0C}"/>
              </a:ext>
            </a:extLst>
          </p:cNvPr>
          <p:cNvSpPr txBox="1"/>
          <p:nvPr/>
        </p:nvSpPr>
        <p:spPr>
          <a:xfrm>
            <a:off x="8730383" y="417901"/>
            <a:ext cx="3142574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b="1" dirty="0"/>
              <a:t>INTERNAL TRANSFER</a:t>
            </a:r>
          </a:p>
        </p:txBody>
      </p:sp>
      <p:sp>
        <p:nvSpPr>
          <p:cNvPr id="73" name="Oval 72">
            <a:extLst>
              <a:ext uri="{FF2B5EF4-FFF2-40B4-BE49-F238E27FC236}">
                <a16:creationId xmlns:a16="http://schemas.microsoft.com/office/drawing/2014/main" id="{41EB1968-BB5A-42F9-9703-6D5DEF87D625}"/>
              </a:ext>
            </a:extLst>
          </p:cNvPr>
          <p:cNvSpPr/>
          <p:nvPr/>
        </p:nvSpPr>
        <p:spPr>
          <a:xfrm flipH="1">
            <a:off x="8274754" y="1157702"/>
            <a:ext cx="287430" cy="287430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0F0E4B47-C0F6-4C18-8BB2-6ADF9C9B7502}"/>
              </a:ext>
            </a:extLst>
          </p:cNvPr>
          <p:cNvSpPr txBox="1"/>
          <p:nvPr/>
        </p:nvSpPr>
        <p:spPr>
          <a:xfrm>
            <a:off x="8743926" y="1157702"/>
            <a:ext cx="328000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b="1" dirty="0">
                <a:solidFill>
                  <a:schemeClr val="accent4">
                    <a:lumMod val="75000"/>
                  </a:schemeClr>
                </a:solidFill>
              </a:rPr>
              <a:t>INDUSTRY INV EXPERIENC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16D71225-67D9-4D2D-8C1D-31216784E68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899" y="5866267"/>
            <a:ext cx="830596" cy="855208"/>
          </a:xfrm>
          <a:prstGeom prst="rect">
            <a:avLst/>
          </a:prstGeom>
        </p:spPr>
      </p:pic>
      <p:sp>
        <p:nvSpPr>
          <p:cNvPr id="10" name="Oval 9">
            <a:extLst>
              <a:ext uri="{FF2B5EF4-FFF2-40B4-BE49-F238E27FC236}">
                <a16:creationId xmlns:a16="http://schemas.microsoft.com/office/drawing/2014/main" id="{9C4122A2-F763-49C2-8A08-316C6329CACC}"/>
              </a:ext>
            </a:extLst>
          </p:cNvPr>
          <p:cNvSpPr/>
          <p:nvPr/>
        </p:nvSpPr>
        <p:spPr>
          <a:xfrm flipH="1">
            <a:off x="8274754" y="787408"/>
            <a:ext cx="287430" cy="287430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F521EB7-6FF8-4BAB-9EFF-A144486BBF73}"/>
              </a:ext>
            </a:extLst>
          </p:cNvPr>
          <p:cNvSpPr txBox="1"/>
          <p:nvPr/>
        </p:nvSpPr>
        <p:spPr>
          <a:xfrm>
            <a:off x="8731815" y="808012"/>
            <a:ext cx="314114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b="1" dirty="0">
                <a:solidFill>
                  <a:schemeClr val="accent5">
                    <a:lumMod val="50000"/>
                  </a:schemeClr>
                </a:solidFill>
              </a:rPr>
              <a:t>RECENT COLLEGE GRADUATE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31511BD-4857-4CC0-9F14-8178AF3710B1}"/>
              </a:ext>
            </a:extLst>
          </p:cNvPr>
          <p:cNvSpPr/>
          <p:nvPr/>
        </p:nvSpPr>
        <p:spPr>
          <a:xfrm>
            <a:off x="2845750" y="5426579"/>
            <a:ext cx="940037" cy="199877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54B99CE-87C5-4742-8174-92D68B4D6328}"/>
              </a:ext>
            </a:extLst>
          </p:cNvPr>
          <p:cNvSpPr/>
          <p:nvPr/>
        </p:nvSpPr>
        <p:spPr>
          <a:xfrm>
            <a:off x="338984" y="0"/>
            <a:ext cx="1207805" cy="1577589"/>
          </a:xfrm>
          <a:prstGeom prst="rect">
            <a:avLst/>
          </a:prstGeom>
          <a:solidFill>
            <a:schemeClr val="accent5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8947195-9BA8-4834-B996-A44869A74D4F}"/>
              </a:ext>
            </a:extLst>
          </p:cNvPr>
          <p:cNvSpPr txBox="1"/>
          <p:nvPr/>
        </p:nvSpPr>
        <p:spPr>
          <a:xfrm>
            <a:off x="18815" y="86259"/>
            <a:ext cx="1848142" cy="123110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8000" dirty="0">
                <a:solidFill>
                  <a:schemeClr val="bg1"/>
                </a:solidFill>
                <a:latin typeface="Bahnschrift" panose="020B0502040204020203" pitchFamily="34" charset="0"/>
                <a:cs typeface="Segoe UI Semibold" panose="020B0702040204020203" pitchFamily="34" charset="0"/>
              </a:rPr>
              <a:t>B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A006236-3A8D-42DC-B055-FD693A7066F2}"/>
              </a:ext>
            </a:extLst>
          </p:cNvPr>
          <p:cNvSpPr txBox="1"/>
          <p:nvPr/>
        </p:nvSpPr>
        <p:spPr>
          <a:xfrm>
            <a:off x="180898" y="1313272"/>
            <a:ext cx="1528261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  <a:latin typeface="+mj-lt"/>
                <a:cs typeface="Segoe UI Semibold" panose="020B0702040204020203" pitchFamily="34" charset="0"/>
              </a:rPr>
              <a:t>BENCHMARK</a:t>
            </a: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CE001A62-1ADF-41FE-A6D2-4A7B0B760E6B}"/>
              </a:ext>
            </a:extLst>
          </p:cNvPr>
          <p:cNvSpPr/>
          <p:nvPr/>
        </p:nvSpPr>
        <p:spPr>
          <a:xfrm flipH="1">
            <a:off x="8274754" y="1534698"/>
            <a:ext cx="287430" cy="28743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C55955B-F997-4C38-93C0-530EDAC9CDD8}"/>
              </a:ext>
            </a:extLst>
          </p:cNvPr>
          <p:cNvSpPr txBox="1"/>
          <p:nvPr/>
        </p:nvSpPr>
        <p:spPr>
          <a:xfrm>
            <a:off x="8743926" y="1555302"/>
            <a:ext cx="25146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b="1" dirty="0">
                <a:solidFill>
                  <a:schemeClr val="bg1">
                    <a:lumMod val="50000"/>
                  </a:schemeClr>
                </a:solidFill>
              </a:rPr>
              <a:t>OUT OF INDUSTRY EXP</a:t>
            </a:r>
          </a:p>
        </p:txBody>
      </p:sp>
    </p:spTree>
    <p:extLst>
      <p:ext uri="{BB962C8B-B14F-4D97-AF65-F5344CB8AC3E}">
        <p14:creationId xmlns:p14="http://schemas.microsoft.com/office/powerpoint/2010/main" val="31733098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E5B24B26-F498-479A-9712-3BC24141A4F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135743"/>
            <a:ext cx="10554056" cy="4586514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6501E917-7666-4006-A5F2-1CF1AD5A3080}"/>
              </a:ext>
            </a:extLst>
          </p:cNvPr>
          <p:cNvSpPr/>
          <p:nvPr/>
        </p:nvSpPr>
        <p:spPr>
          <a:xfrm>
            <a:off x="1061666" y="0"/>
            <a:ext cx="4267200" cy="5722257"/>
          </a:xfrm>
          <a:prstGeom prst="rect">
            <a:avLst/>
          </a:prstGeom>
          <a:solidFill>
            <a:schemeClr val="accent5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51BDE8C-C874-4027-92B6-106F8C9E07A1}"/>
              </a:ext>
            </a:extLst>
          </p:cNvPr>
          <p:cNvSpPr txBox="1"/>
          <p:nvPr/>
        </p:nvSpPr>
        <p:spPr>
          <a:xfrm>
            <a:off x="1060764" y="1136564"/>
            <a:ext cx="4267200" cy="101566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6600" dirty="0">
                <a:solidFill>
                  <a:schemeClr val="bg1"/>
                </a:solidFill>
                <a:latin typeface="Bahnschrift" panose="020B0502040204020203" pitchFamily="34" charset="0"/>
                <a:cs typeface="Segoe UI Semibold" panose="020B0702040204020203" pitchFamily="34" charset="0"/>
              </a:rPr>
              <a:t>SERVIC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6FCF56B-A322-4274-B025-6BFE8AD005D9}"/>
              </a:ext>
            </a:extLst>
          </p:cNvPr>
          <p:cNvSpPr txBox="1"/>
          <p:nvPr/>
        </p:nvSpPr>
        <p:spPr>
          <a:xfrm>
            <a:off x="1060764" y="3006218"/>
            <a:ext cx="4267200" cy="135421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4400" dirty="0">
                <a:solidFill>
                  <a:schemeClr val="bg1"/>
                </a:solidFill>
                <a:effectLst/>
                <a:latin typeface="Bahnschrift Condensed" panose="020B0502040204020203" pitchFamily="34" charset="0"/>
                <a:cs typeface="Segoe UI Semibold" panose="020B0702040204020203" pitchFamily="34" charset="0"/>
              </a:rPr>
              <a:t>Key Values</a:t>
            </a:r>
          </a:p>
          <a:p>
            <a:pPr algn="ctr"/>
            <a:r>
              <a:rPr lang="en-US" sz="4400" dirty="0">
                <a:solidFill>
                  <a:schemeClr val="bg1"/>
                </a:solidFill>
                <a:effectLst/>
                <a:latin typeface="Bahnschrift Condensed" panose="020B0502040204020203" pitchFamily="34" charset="0"/>
                <a:cs typeface="Segoe UI Semibold" panose="020B0702040204020203" pitchFamily="34" charset="0"/>
              </a:rPr>
              <a:t>&amp; Benchmark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56A605D-3BCE-4450-A7C0-743867BE09FD}"/>
              </a:ext>
            </a:extLst>
          </p:cNvPr>
          <p:cNvSpPr txBox="1"/>
          <p:nvPr/>
        </p:nvSpPr>
        <p:spPr>
          <a:xfrm>
            <a:off x="-1" y="106207"/>
            <a:ext cx="1060765" cy="92333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6000" dirty="0">
                <a:solidFill>
                  <a:schemeClr val="accent1"/>
                </a:solidFill>
                <a:latin typeface="Bahnschrift" panose="020B0502040204020203" pitchFamily="34" charset="0"/>
                <a:cs typeface="Segoe UI Semibold" panose="020B0702040204020203" pitchFamily="34" charset="0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46651813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2072424-5D56-4214-9B0E-115C1E9D580C}"/>
              </a:ext>
            </a:extLst>
          </p:cNvPr>
          <p:cNvSpPr/>
          <p:nvPr/>
        </p:nvSpPr>
        <p:spPr>
          <a:xfrm>
            <a:off x="1166948" y="6448197"/>
            <a:ext cx="10013044" cy="181203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A4CCC08-A329-477A-B80B-2665F19C7039}"/>
              </a:ext>
            </a:extLst>
          </p:cNvPr>
          <p:cNvSpPr/>
          <p:nvPr/>
        </p:nvSpPr>
        <p:spPr>
          <a:xfrm>
            <a:off x="11267076" y="6448197"/>
            <a:ext cx="924923" cy="18120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67" name="Chart 66">
            <a:extLst>
              <a:ext uri="{FF2B5EF4-FFF2-40B4-BE49-F238E27FC236}">
                <a16:creationId xmlns:a16="http://schemas.microsoft.com/office/drawing/2014/main" id="{E4D9C660-107C-4AC7-916B-10D838F43C2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68150128"/>
              </p:ext>
            </p:extLst>
          </p:nvPr>
        </p:nvGraphicFramePr>
        <p:xfrm>
          <a:off x="278808" y="2133969"/>
          <a:ext cx="11764711" cy="35854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15" name="Picture 14">
            <a:extLst>
              <a:ext uri="{FF2B5EF4-FFF2-40B4-BE49-F238E27FC236}">
                <a16:creationId xmlns:a16="http://schemas.microsoft.com/office/drawing/2014/main" id="{16D71225-67D9-4D2D-8C1D-31216784E68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899" y="5866267"/>
            <a:ext cx="830596" cy="855208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A825893A-5D1E-4151-9026-81CDA7737062}"/>
              </a:ext>
            </a:extLst>
          </p:cNvPr>
          <p:cNvSpPr/>
          <p:nvPr/>
        </p:nvSpPr>
        <p:spPr>
          <a:xfrm>
            <a:off x="338984" y="0"/>
            <a:ext cx="1207805" cy="1577589"/>
          </a:xfrm>
          <a:prstGeom prst="rect">
            <a:avLst/>
          </a:prstGeom>
          <a:solidFill>
            <a:schemeClr val="accent5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245456E-1377-4768-ABCE-10F1CC2EE3BD}"/>
              </a:ext>
            </a:extLst>
          </p:cNvPr>
          <p:cNvSpPr txBox="1"/>
          <p:nvPr/>
        </p:nvSpPr>
        <p:spPr>
          <a:xfrm>
            <a:off x="18815" y="86259"/>
            <a:ext cx="1848142" cy="123110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80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hnschrift" panose="020B0502040204020203" pitchFamily="34" charset="0"/>
                <a:cs typeface="Segoe UI Semibold" panose="020B0702040204020203" pitchFamily="34" charset="0"/>
              </a:rPr>
              <a:t>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8CA71D2-9DF2-4CC8-8A5A-8A5B4D9EB353}"/>
              </a:ext>
            </a:extLst>
          </p:cNvPr>
          <p:cNvSpPr txBox="1"/>
          <p:nvPr/>
        </p:nvSpPr>
        <p:spPr>
          <a:xfrm>
            <a:off x="180898" y="1313272"/>
            <a:ext cx="1528261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+mj-lt"/>
                <a:cs typeface="Segoe UI Semibold" panose="020B0702040204020203" pitchFamily="34" charset="0"/>
              </a:rPr>
              <a:t>SERVICE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45BB7C53-3A96-4A77-988F-3CC20E7D6D54}"/>
              </a:ext>
            </a:extLst>
          </p:cNvPr>
          <p:cNvSpPr/>
          <p:nvPr/>
        </p:nvSpPr>
        <p:spPr>
          <a:xfrm flipH="1">
            <a:off x="8261211" y="163956"/>
            <a:ext cx="287430" cy="287430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D7DDCD6-44D1-49A8-BD7C-5227345396B1}"/>
              </a:ext>
            </a:extLst>
          </p:cNvPr>
          <p:cNvSpPr txBox="1"/>
          <p:nvPr/>
        </p:nvSpPr>
        <p:spPr>
          <a:xfrm>
            <a:off x="8730382" y="184241"/>
            <a:ext cx="314257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b="1" dirty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$ WEIGHTED AVG SERV GOAL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7C248A03-34ED-4D94-9BBB-20F2F812EA6E}"/>
              </a:ext>
            </a:extLst>
          </p:cNvPr>
          <p:cNvSpPr/>
          <p:nvPr/>
        </p:nvSpPr>
        <p:spPr>
          <a:xfrm flipH="1">
            <a:off x="8273322" y="597733"/>
            <a:ext cx="287430" cy="28743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C56269C-952A-4E68-8139-EECA4455D254}"/>
              </a:ext>
            </a:extLst>
          </p:cNvPr>
          <p:cNvSpPr txBox="1"/>
          <p:nvPr/>
        </p:nvSpPr>
        <p:spPr>
          <a:xfrm>
            <a:off x="8730383" y="618337"/>
            <a:ext cx="323088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b="1" dirty="0">
                <a:solidFill>
                  <a:schemeClr val="accent1">
                    <a:lumMod val="40000"/>
                    <a:lumOff val="6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UNIT WEIGHTED AVG SERV GOAL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1C6CBC81-5B9B-4A20-B5E4-4C643E898973}"/>
              </a:ext>
            </a:extLst>
          </p:cNvPr>
          <p:cNvSpPr/>
          <p:nvPr/>
        </p:nvSpPr>
        <p:spPr>
          <a:xfrm flipH="1">
            <a:off x="8273322" y="1060300"/>
            <a:ext cx="287430" cy="287430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5751C33-6693-4C90-8CBE-328DC1606583}"/>
              </a:ext>
            </a:extLst>
          </p:cNvPr>
          <p:cNvSpPr txBox="1"/>
          <p:nvPr/>
        </p:nvSpPr>
        <p:spPr>
          <a:xfrm>
            <a:off x="8730383" y="1080904"/>
            <a:ext cx="289189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b="1" dirty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% ITEMS SLG &gt; 99%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6B065D6A-6CBE-4512-829A-17BA295938BA}"/>
              </a:ext>
            </a:extLst>
          </p:cNvPr>
          <p:cNvSpPr/>
          <p:nvPr/>
        </p:nvSpPr>
        <p:spPr>
          <a:xfrm flipH="1">
            <a:off x="8273322" y="1502785"/>
            <a:ext cx="287430" cy="287430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C781659-89C9-4F2F-BF4E-406433153F98}"/>
              </a:ext>
            </a:extLst>
          </p:cNvPr>
          <p:cNvSpPr txBox="1"/>
          <p:nvPr/>
        </p:nvSpPr>
        <p:spPr>
          <a:xfrm>
            <a:off x="8730383" y="1523389"/>
            <a:ext cx="25146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b="1" dirty="0">
                <a:solidFill>
                  <a:srgbClr val="FF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% ITEMS SLG &lt; 95%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DCDF85B-4058-46B5-B0A3-7EAF4C4C70E5}"/>
              </a:ext>
            </a:extLst>
          </p:cNvPr>
          <p:cNvSpPr txBox="1"/>
          <p:nvPr/>
        </p:nvSpPr>
        <p:spPr>
          <a:xfrm>
            <a:off x="1716420" y="522988"/>
            <a:ext cx="6134631" cy="61555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4000" dirty="0">
                <a:solidFill>
                  <a:schemeClr val="tx1">
                    <a:lumMod val="65000"/>
                    <a:lumOff val="35000"/>
                  </a:schemeClr>
                </a:solidFill>
                <a:latin typeface="Bahnschrift" panose="020B0502040204020203" pitchFamily="34" charset="0"/>
                <a:cs typeface="Segoe UI Semibold" panose="020B0702040204020203" pitchFamily="34" charset="0"/>
              </a:rPr>
              <a:t>SERVICE LEVEL GOAL</a:t>
            </a:r>
          </a:p>
        </p:txBody>
      </p:sp>
    </p:spTree>
    <p:extLst>
      <p:ext uri="{BB962C8B-B14F-4D97-AF65-F5344CB8AC3E}">
        <p14:creationId xmlns:p14="http://schemas.microsoft.com/office/powerpoint/2010/main" val="119281614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E5B24B26-F498-479A-9712-3BC24141A4F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" y="1135743"/>
            <a:ext cx="10784793" cy="4586514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6501E917-7666-4006-A5F2-1CF1AD5A3080}"/>
              </a:ext>
            </a:extLst>
          </p:cNvPr>
          <p:cNvSpPr/>
          <p:nvPr/>
        </p:nvSpPr>
        <p:spPr>
          <a:xfrm>
            <a:off x="1061666" y="0"/>
            <a:ext cx="4267200" cy="5722257"/>
          </a:xfrm>
          <a:prstGeom prst="rect">
            <a:avLst/>
          </a:prstGeom>
          <a:solidFill>
            <a:schemeClr val="accent5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51BDE8C-C874-4027-92B6-106F8C9E07A1}"/>
              </a:ext>
            </a:extLst>
          </p:cNvPr>
          <p:cNvSpPr txBox="1"/>
          <p:nvPr/>
        </p:nvSpPr>
        <p:spPr>
          <a:xfrm>
            <a:off x="1060764" y="1055317"/>
            <a:ext cx="4267200" cy="101566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6600" dirty="0">
                <a:solidFill>
                  <a:schemeClr val="bg1"/>
                </a:solidFill>
                <a:latin typeface="Bahnschrift" panose="020B0502040204020203" pitchFamily="34" charset="0"/>
                <a:cs typeface="Segoe UI Semibold" panose="020B0702040204020203" pitchFamily="34" charset="0"/>
              </a:rPr>
              <a:t>DEMAND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6FCF56B-A322-4274-B025-6BFE8AD005D9}"/>
              </a:ext>
            </a:extLst>
          </p:cNvPr>
          <p:cNvSpPr txBox="1"/>
          <p:nvPr/>
        </p:nvSpPr>
        <p:spPr>
          <a:xfrm>
            <a:off x="1060764" y="3006218"/>
            <a:ext cx="4267200" cy="135421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4400" dirty="0">
                <a:solidFill>
                  <a:schemeClr val="bg1"/>
                </a:solidFill>
                <a:effectLst/>
                <a:latin typeface="Bahnschrift Condensed" panose="020B0502040204020203" pitchFamily="34" charset="0"/>
                <a:cs typeface="Segoe UI Semibold" panose="020B0702040204020203" pitchFamily="34" charset="0"/>
              </a:rPr>
              <a:t>Key Values</a:t>
            </a:r>
          </a:p>
          <a:p>
            <a:pPr algn="ctr"/>
            <a:r>
              <a:rPr lang="en-US" sz="4400" dirty="0">
                <a:solidFill>
                  <a:schemeClr val="bg1"/>
                </a:solidFill>
                <a:effectLst/>
                <a:latin typeface="Bahnschrift Condensed" panose="020B0502040204020203" pitchFamily="34" charset="0"/>
                <a:cs typeface="Segoe UI Semibold" panose="020B0702040204020203" pitchFamily="34" charset="0"/>
              </a:rPr>
              <a:t>&amp; Benchmark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66492C3-EEBF-4178-BFFD-446E9F674EF2}"/>
              </a:ext>
            </a:extLst>
          </p:cNvPr>
          <p:cNvSpPr txBox="1"/>
          <p:nvPr/>
        </p:nvSpPr>
        <p:spPr>
          <a:xfrm>
            <a:off x="-1" y="106207"/>
            <a:ext cx="1060765" cy="92333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6000" dirty="0">
                <a:solidFill>
                  <a:schemeClr val="accent1"/>
                </a:solidFill>
                <a:latin typeface="Bahnschrift" panose="020B0502040204020203" pitchFamily="34" charset="0"/>
                <a:cs typeface="Segoe UI Semibold" panose="020B0702040204020203" pitchFamily="34" charset="0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10806995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Modern 01">
      <a:majorFont>
        <a:latin typeface="Century Gothic"/>
        <a:ea typeface=""/>
        <a:cs typeface=""/>
      </a:majorFont>
      <a:minorFont>
        <a:latin typeface="Segoe U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>
            <a:lumMod val="20000"/>
            <a:lumOff val="80000"/>
          </a:schemeClr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Custom 85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EA9FA"/>
      </a:accent1>
      <a:accent2>
        <a:srgbClr val="0E65B4"/>
      </a:accent2>
      <a:accent3>
        <a:srgbClr val="33B2C1"/>
      </a:accent3>
      <a:accent4>
        <a:srgbClr val="4EA9FA"/>
      </a:accent4>
      <a:accent5>
        <a:srgbClr val="0E65B4"/>
      </a:accent5>
      <a:accent6>
        <a:srgbClr val="33B2C1"/>
      </a:accent6>
      <a:hlink>
        <a:srgbClr val="C00000"/>
      </a:hlink>
      <a:folHlink>
        <a:srgbClr val="0563C1"/>
      </a:folHlink>
    </a:clrScheme>
    <a:fontScheme name="Modern 03">
      <a:majorFont>
        <a:latin typeface="Segoe UI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5147</TotalTime>
  <Words>621</Words>
  <Application>Microsoft Office PowerPoint</Application>
  <PresentationFormat>Widescreen</PresentationFormat>
  <Paragraphs>281</Paragraphs>
  <Slides>24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5" baseType="lpstr">
      <vt:lpstr>Arial</vt:lpstr>
      <vt:lpstr>Bahnschrift</vt:lpstr>
      <vt:lpstr>Bahnschrift Condensed</vt:lpstr>
      <vt:lpstr>Calibri</vt:lpstr>
      <vt:lpstr>Calibri Light</vt:lpstr>
      <vt:lpstr>Century Gothic</vt:lpstr>
      <vt:lpstr>Segoe UI</vt:lpstr>
      <vt:lpstr>Segoe UI Light</vt:lpstr>
      <vt:lpstr>2_Office Theme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ugroho Ade</dc:creator>
  <cp:lastModifiedBy>Dan Craddock</cp:lastModifiedBy>
  <cp:revision>303</cp:revision>
  <dcterms:created xsi:type="dcterms:W3CDTF">2018-04-20T06:02:31Z</dcterms:created>
  <dcterms:modified xsi:type="dcterms:W3CDTF">2024-12-12T19:04:15Z</dcterms:modified>
</cp:coreProperties>
</file>